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7" r:id="rId4"/>
  </p:sldMasterIdLst>
  <p:notesMasterIdLst>
    <p:notesMasterId r:id="rId16"/>
  </p:notesMasterIdLst>
  <p:handoutMasterIdLst>
    <p:handoutMasterId r:id="rId17"/>
  </p:handoutMasterIdLst>
  <p:sldIdLst>
    <p:sldId id="597" r:id="rId5"/>
    <p:sldId id="2147377055" r:id="rId6"/>
    <p:sldId id="2147377064" r:id="rId7"/>
    <p:sldId id="2147377052" r:id="rId8"/>
    <p:sldId id="2147376800" r:id="rId9"/>
    <p:sldId id="2147377061" r:id="rId10"/>
    <p:sldId id="2147377043" r:id="rId11"/>
    <p:sldId id="2147377059" r:id="rId12"/>
    <p:sldId id="2147377063" r:id="rId13"/>
    <p:sldId id="2147377062" r:id="rId14"/>
    <p:sldId id="2147376795" r:id="rId15"/>
  </p:sldIdLst>
  <p:sldSz cx="9144000" cy="5143500" type="screen16x9"/>
  <p:notesSz cx="6858000" cy="9144000"/>
  <p:embeddedFontLst>
    <p:embeddedFont>
      <p:font typeface="IBM Plex Sans" panose="020B0503050203000203" pitchFamily="34" charset="0"/>
      <p:regular r:id="rId18"/>
      <p:bold r:id="rId19"/>
      <p:italic r:id="rId20"/>
      <p:boldItalic r:id="rId21"/>
    </p:embeddedFont>
    <p:embeddedFont>
      <p:font typeface="Impact" panose="020B0806030902050204" pitchFamily="34" charset="0"/>
      <p:regular r:id="rId22"/>
    </p:embeddedFont>
    <p:embeddedFont>
      <p:font typeface="Montserrat" panose="00000500000000000000" pitchFamily="2" charset="0"/>
      <p:regular r:id="rId23"/>
      <p:bold r:id="rId24"/>
      <p:italic r:id="rId25"/>
      <p:boldItalic r:id="rId26"/>
    </p:embeddedFont>
    <p:embeddedFont>
      <p:font typeface="Montserrat SemiBold" panose="00000700000000000000" pitchFamily="2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whney, Viraj" initials="SV" lastIdx="14" clrIdx="0">
    <p:extLst>
      <p:ext uri="{19B8F6BF-5375-455C-9EA6-DF929625EA0E}">
        <p15:presenceInfo xmlns:p15="http://schemas.microsoft.com/office/powerpoint/2012/main" userId="S::viraj.sawhney@warburgpincus.com::ec1c7233-9e59-4d08-829d-76f6c1342d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EEFF"/>
    <a:srgbClr val="2E2052"/>
    <a:srgbClr val="3C69A0"/>
    <a:srgbClr val="4E81BE"/>
    <a:srgbClr val="719ACB"/>
    <a:srgbClr val="95B3D7"/>
    <a:srgbClr val="B9CDE5"/>
    <a:srgbClr val="DCE6F2"/>
    <a:srgbClr val="521C96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5ACC03-BF5A-4BFC-B90C-505116CE2BDB}" v="24" dt="2025-07-24T02:09:39.831"/>
  </p1510:revLst>
</p1510:revInfo>
</file>

<file path=ppt/tableStyles.xml><?xml version="1.0" encoding="utf-8"?>
<a:tblStyleLst xmlns:a="http://schemas.openxmlformats.org/drawingml/2006/main" def="{8AB8526A-58E8-4FAA-9410-1DA658D63A05}">
  <a:tblStyle styleId="{8AB8526A-58E8-4FAA-9410-1DA658D63A05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21" autoAdjust="0"/>
    <p:restoredTop sz="94721"/>
  </p:normalViewPr>
  <p:slideViewPr>
    <p:cSldViewPr snapToGrid="0">
      <p:cViewPr varScale="1">
        <p:scale>
          <a:sx n="141" d="100"/>
          <a:sy n="141" d="100"/>
        </p:scale>
        <p:origin x="1080" y="3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237" y="2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21" Type="http://schemas.openxmlformats.org/officeDocument/2006/relationships/font" Target="fonts/font4.fntdata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ardo Trevizo H" userId="d285aee106cb5dfd" providerId="LiveId" clId="{E95ACC03-BF5A-4BFC-B90C-505116CE2BDB}"/>
    <pc:docChg chg="undo custSel addSld delSld modSld sldOrd addSection delSection modSection">
      <pc:chgData name="Leonardo Trevizo H" userId="d285aee106cb5dfd" providerId="LiveId" clId="{E95ACC03-BF5A-4BFC-B90C-505116CE2BDB}" dt="2025-07-24T15:49:59.065" v="1892" actId="17853"/>
      <pc:docMkLst>
        <pc:docMk/>
      </pc:docMkLst>
      <pc:sldChg chg="modSp mod">
        <pc:chgData name="Leonardo Trevizo H" userId="d285aee106cb5dfd" providerId="LiveId" clId="{E95ACC03-BF5A-4BFC-B90C-505116CE2BDB}" dt="2025-07-24T00:45:07.504" v="1473" actId="20577"/>
        <pc:sldMkLst>
          <pc:docMk/>
          <pc:sldMk cId="1809073826" sldId="597"/>
        </pc:sldMkLst>
        <pc:spChg chg="mod">
          <ac:chgData name="Leonardo Trevizo H" userId="d285aee106cb5dfd" providerId="LiveId" clId="{E95ACC03-BF5A-4BFC-B90C-505116CE2BDB}" dt="2025-07-24T00:45:07.504" v="1473" actId="20577"/>
          <ac:spMkLst>
            <pc:docMk/>
            <pc:sldMk cId="1809073826" sldId="597"/>
            <ac:spMk id="2" creationId="{ED72DFD0-EE17-47CC-B412-A1140BFA0926}"/>
          </ac:spMkLst>
        </pc:spChg>
        <pc:spChg chg="mod">
          <ac:chgData name="Leonardo Trevizo H" userId="d285aee106cb5dfd" providerId="LiveId" clId="{E95ACC03-BF5A-4BFC-B90C-505116CE2BDB}" dt="2025-07-21T23:43:13.320" v="4" actId="20577"/>
          <ac:spMkLst>
            <pc:docMk/>
            <pc:sldMk cId="1809073826" sldId="597"/>
            <ac:spMk id="5" creationId="{DD9B380A-F4B7-4C33-89E3-79B31EEEC7EA}"/>
          </ac:spMkLst>
        </pc:spChg>
      </pc:sldChg>
      <pc:sldChg chg="addSp modSp mod modClrScheme chgLayout">
        <pc:chgData name="Leonardo Trevizo H" userId="d285aee106cb5dfd" providerId="LiveId" clId="{E95ACC03-BF5A-4BFC-B90C-505116CE2BDB}" dt="2025-07-22T03:55:09.164" v="379"/>
        <pc:sldMkLst>
          <pc:docMk/>
          <pc:sldMk cId="2373028972" sldId="2147376800"/>
        </pc:sldMkLst>
        <pc:spChg chg="mod ord">
          <ac:chgData name="Leonardo Trevizo H" userId="d285aee106cb5dfd" providerId="LiveId" clId="{E95ACC03-BF5A-4BFC-B90C-505116CE2BDB}" dt="2025-07-22T03:47:43.416" v="307" actId="700"/>
          <ac:spMkLst>
            <pc:docMk/>
            <pc:sldMk cId="2373028972" sldId="2147376800"/>
            <ac:spMk id="2" creationId="{A4896D03-5F31-B04A-48BC-2317BD5A19EA}"/>
          </ac:spMkLst>
        </pc:spChg>
        <pc:spChg chg="mod ord">
          <ac:chgData name="Leonardo Trevizo H" userId="d285aee106cb5dfd" providerId="LiveId" clId="{E95ACC03-BF5A-4BFC-B90C-505116CE2BDB}" dt="2025-07-22T03:47:43.416" v="307" actId="700"/>
          <ac:spMkLst>
            <pc:docMk/>
            <pc:sldMk cId="2373028972" sldId="2147376800"/>
            <ac:spMk id="3" creationId="{73788D32-2EB3-BE5D-447F-5B383312D5ED}"/>
          </ac:spMkLst>
        </pc:spChg>
        <pc:spChg chg="mod ord">
          <ac:chgData name="Leonardo Trevizo H" userId="d285aee106cb5dfd" providerId="LiveId" clId="{E95ACC03-BF5A-4BFC-B90C-505116CE2BDB}" dt="2025-07-22T03:47:43.416" v="307" actId="700"/>
          <ac:spMkLst>
            <pc:docMk/>
            <pc:sldMk cId="2373028972" sldId="2147376800"/>
            <ac:spMk id="4" creationId="{1CAB4CBA-3FEF-CBA6-116F-BD7EAB398CA9}"/>
          </ac:spMkLst>
        </pc:spChg>
        <pc:spChg chg="mod ord">
          <ac:chgData name="Leonardo Trevizo H" userId="d285aee106cb5dfd" providerId="LiveId" clId="{E95ACC03-BF5A-4BFC-B90C-505116CE2BDB}" dt="2025-07-22T03:48:31.696" v="371" actId="20577"/>
          <ac:spMkLst>
            <pc:docMk/>
            <pc:sldMk cId="2373028972" sldId="2147376800"/>
            <ac:spMk id="5" creationId="{CF4B80C3-F116-2E6B-7E72-2BE885F878A5}"/>
          </ac:spMkLst>
        </pc:spChg>
        <pc:picChg chg="mod">
          <ac:chgData name="Leonardo Trevizo H" userId="d285aee106cb5dfd" providerId="LiveId" clId="{E95ACC03-BF5A-4BFC-B90C-505116CE2BDB}" dt="2025-07-22T03:49:50.768" v="372" actId="14826"/>
          <ac:picMkLst>
            <pc:docMk/>
            <pc:sldMk cId="2373028972" sldId="2147376800"/>
            <ac:picMk id="7" creationId="{C590C0A8-070E-3ABC-02C9-94B0A893F984}"/>
          </ac:picMkLst>
        </pc:picChg>
        <pc:picChg chg="mod">
          <ac:chgData name="Leonardo Trevizo H" userId="d285aee106cb5dfd" providerId="LiveId" clId="{E95ACC03-BF5A-4BFC-B90C-505116CE2BDB}" dt="2025-07-22T03:50:50.952" v="373" actId="14826"/>
          <ac:picMkLst>
            <pc:docMk/>
            <pc:sldMk cId="2373028972" sldId="2147376800"/>
            <ac:picMk id="10" creationId="{663F770D-11CE-3FEF-03E1-43DC4351008D}"/>
          </ac:picMkLst>
        </pc:picChg>
        <pc:picChg chg="add mod modCrop">
          <ac:chgData name="Leonardo Trevizo H" userId="d285aee106cb5dfd" providerId="LiveId" clId="{E95ACC03-BF5A-4BFC-B90C-505116CE2BDB}" dt="2025-07-22T03:55:09.164" v="379"/>
          <ac:picMkLst>
            <pc:docMk/>
            <pc:sldMk cId="2373028972" sldId="2147376800"/>
            <ac:picMk id="12" creationId="{89BDC225-5C23-9380-792D-D5AB97622BB3}"/>
          </ac:picMkLst>
        </pc:picChg>
      </pc:sldChg>
      <pc:sldChg chg="modSp mod">
        <pc:chgData name="Leonardo Trevizo H" userId="d285aee106cb5dfd" providerId="LiveId" clId="{E95ACC03-BF5A-4BFC-B90C-505116CE2BDB}" dt="2025-07-24T00:27:09.432" v="1444" actId="20577"/>
        <pc:sldMkLst>
          <pc:docMk/>
          <pc:sldMk cId="387445325" sldId="2147377043"/>
        </pc:sldMkLst>
        <pc:spChg chg="mod">
          <ac:chgData name="Leonardo Trevizo H" userId="d285aee106cb5dfd" providerId="LiveId" clId="{E95ACC03-BF5A-4BFC-B90C-505116CE2BDB}" dt="2025-07-23T04:11:37.235" v="1224" actId="20577"/>
          <ac:spMkLst>
            <pc:docMk/>
            <pc:sldMk cId="387445325" sldId="2147377043"/>
            <ac:spMk id="2" creationId="{9746E629-E743-BA0F-5E14-2B7887801DBB}"/>
          </ac:spMkLst>
        </pc:spChg>
        <pc:spChg chg="mod">
          <ac:chgData name="Leonardo Trevizo H" userId="d285aee106cb5dfd" providerId="LiveId" clId="{E95ACC03-BF5A-4BFC-B90C-505116CE2BDB}" dt="2025-07-24T00:27:09.432" v="1444" actId="20577"/>
          <ac:spMkLst>
            <pc:docMk/>
            <pc:sldMk cId="387445325" sldId="2147377043"/>
            <ac:spMk id="4" creationId="{BCD44CFF-377F-BDD8-86C3-D54CAE1AA376}"/>
          </ac:spMkLst>
        </pc:spChg>
        <pc:picChg chg="mod">
          <ac:chgData name="Leonardo Trevizo H" userId="d285aee106cb5dfd" providerId="LiveId" clId="{E95ACC03-BF5A-4BFC-B90C-505116CE2BDB}" dt="2025-07-23T18:08:46.129" v="1303"/>
          <ac:picMkLst>
            <pc:docMk/>
            <pc:sldMk cId="387445325" sldId="2147377043"/>
            <ac:picMk id="9" creationId="{100A1D89-B204-FEA0-7956-EA8A52594857}"/>
          </ac:picMkLst>
        </pc:picChg>
      </pc:sldChg>
      <pc:sldChg chg="delSp modSp mod">
        <pc:chgData name="Leonardo Trevizo H" userId="d285aee106cb5dfd" providerId="LiveId" clId="{E95ACC03-BF5A-4BFC-B90C-505116CE2BDB}" dt="2025-07-23T22:04:55.053" v="1345" actId="2710"/>
        <pc:sldMkLst>
          <pc:docMk/>
          <pc:sldMk cId="2360522094" sldId="2147377052"/>
        </pc:sldMkLst>
        <pc:spChg chg="mod">
          <ac:chgData name="Leonardo Trevizo H" userId="d285aee106cb5dfd" providerId="LiveId" clId="{E95ACC03-BF5A-4BFC-B90C-505116CE2BDB}" dt="2025-07-21T23:44:00.854" v="9"/>
          <ac:spMkLst>
            <pc:docMk/>
            <pc:sldMk cId="2360522094" sldId="2147377052"/>
            <ac:spMk id="2" creationId="{6BEC61B8-C96A-2360-6AA3-38449F8FF9D1}"/>
          </ac:spMkLst>
        </pc:spChg>
        <pc:spChg chg="mod">
          <ac:chgData name="Leonardo Trevizo H" userId="d285aee106cb5dfd" providerId="LiveId" clId="{E95ACC03-BF5A-4BFC-B90C-505116CE2BDB}" dt="2025-07-23T22:04:55.053" v="1345" actId="2710"/>
          <ac:spMkLst>
            <pc:docMk/>
            <pc:sldMk cId="2360522094" sldId="2147377052"/>
            <ac:spMk id="3" creationId="{FC4678C4-EDA3-7BCF-DDD4-0F2038395B5C}"/>
          </ac:spMkLst>
        </pc:spChg>
        <pc:spChg chg="mod">
          <ac:chgData name="Leonardo Trevizo H" userId="d285aee106cb5dfd" providerId="LiveId" clId="{E95ACC03-BF5A-4BFC-B90C-505116CE2BDB}" dt="2025-07-23T22:04:40.948" v="1344" actId="20577"/>
          <ac:spMkLst>
            <pc:docMk/>
            <pc:sldMk cId="2360522094" sldId="2147377052"/>
            <ac:spMk id="4" creationId="{C62F9380-8B5B-8B9B-06BD-77B10C337FA1}"/>
          </ac:spMkLst>
        </pc:spChg>
      </pc:sldChg>
      <pc:sldChg chg="modSp mod">
        <pc:chgData name="Leonardo Trevizo H" userId="d285aee106cb5dfd" providerId="LiveId" clId="{E95ACC03-BF5A-4BFC-B90C-505116CE2BDB}" dt="2025-07-21T23:43:46.966" v="8" actId="20577"/>
        <pc:sldMkLst>
          <pc:docMk/>
          <pc:sldMk cId="3426862659" sldId="2147377055"/>
        </pc:sldMkLst>
        <pc:spChg chg="mod">
          <ac:chgData name="Leonardo Trevizo H" userId="d285aee106cb5dfd" providerId="LiveId" clId="{E95ACC03-BF5A-4BFC-B90C-505116CE2BDB}" dt="2025-07-21T23:43:46.966" v="8" actId="20577"/>
          <ac:spMkLst>
            <pc:docMk/>
            <pc:sldMk cId="3426862659" sldId="2147377055"/>
            <ac:spMk id="5" creationId="{71539A39-9577-2F3C-DDB3-17764D3F96CB}"/>
          </ac:spMkLst>
        </pc:spChg>
      </pc:sldChg>
      <pc:sldChg chg="modSp del mod">
        <pc:chgData name="Leonardo Trevizo H" userId="d285aee106cb5dfd" providerId="LiveId" clId="{E95ACC03-BF5A-4BFC-B90C-505116CE2BDB}" dt="2025-07-24T04:23:27.872" v="1867" actId="2696"/>
        <pc:sldMkLst>
          <pc:docMk/>
          <pc:sldMk cId="3810529186" sldId="2147377056"/>
        </pc:sldMkLst>
        <pc:spChg chg="mod">
          <ac:chgData name="Leonardo Trevizo H" userId="d285aee106cb5dfd" providerId="LiveId" clId="{E95ACC03-BF5A-4BFC-B90C-505116CE2BDB}" dt="2025-07-24T00:36:04.692" v="1469" actId="20577"/>
          <ac:spMkLst>
            <pc:docMk/>
            <pc:sldMk cId="3810529186" sldId="2147377056"/>
            <ac:spMk id="2" creationId="{E05F99EA-5A21-A226-74BD-C1DE4491C132}"/>
          </ac:spMkLst>
        </pc:spChg>
      </pc:sldChg>
      <pc:sldChg chg="del ord">
        <pc:chgData name="Leonardo Trevizo H" userId="d285aee106cb5dfd" providerId="LiveId" clId="{E95ACC03-BF5A-4BFC-B90C-505116CE2BDB}" dt="2025-07-24T04:23:31.301" v="1868" actId="2696"/>
        <pc:sldMkLst>
          <pc:docMk/>
          <pc:sldMk cId="689628788" sldId="2147377057"/>
        </pc:sldMkLst>
      </pc:sldChg>
      <pc:sldChg chg="del ord">
        <pc:chgData name="Leonardo Trevizo H" userId="d285aee106cb5dfd" providerId="LiveId" clId="{E95ACC03-BF5A-4BFC-B90C-505116CE2BDB}" dt="2025-07-23T23:28:55.654" v="1443" actId="47"/>
        <pc:sldMkLst>
          <pc:docMk/>
          <pc:sldMk cId="659352313" sldId="2147377058"/>
        </pc:sldMkLst>
      </pc:sldChg>
      <pc:sldChg chg="addSp delSp modSp mod">
        <pc:chgData name="Leonardo Trevizo H" userId="d285aee106cb5dfd" providerId="LiveId" clId="{E95ACC03-BF5A-4BFC-B90C-505116CE2BDB}" dt="2025-07-23T22:37:03.763" v="1441" actId="20577"/>
        <pc:sldMkLst>
          <pc:docMk/>
          <pc:sldMk cId="389441947" sldId="2147377059"/>
        </pc:sldMkLst>
        <pc:spChg chg="mod">
          <ac:chgData name="Leonardo Trevizo H" userId="d285aee106cb5dfd" providerId="LiveId" clId="{E95ACC03-BF5A-4BFC-B90C-505116CE2BDB}" dt="2025-07-23T04:12:38.938" v="1225"/>
          <ac:spMkLst>
            <pc:docMk/>
            <pc:sldMk cId="389441947" sldId="2147377059"/>
            <ac:spMk id="2" creationId="{61929B2A-632A-12FE-4FD5-383958CE2712}"/>
          </ac:spMkLst>
        </pc:spChg>
        <pc:spChg chg="mod">
          <ac:chgData name="Leonardo Trevizo H" userId="d285aee106cb5dfd" providerId="LiveId" clId="{E95ACC03-BF5A-4BFC-B90C-505116CE2BDB}" dt="2025-07-23T22:37:03.763" v="1441" actId="20577"/>
          <ac:spMkLst>
            <pc:docMk/>
            <pc:sldMk cId="389441947" sldId="2147377059"/>
            <ac:spMk id="4" creationId="{F6CF1979-500E-3B68-B51B-4F2FB18744A3}"/>
          </ac:spMkLst>
        </pc:spChg>
        <pc:picChg chg="add del">
          <ac:chgData name="Leonardo Trevizo H" userId="d285aee106cb5dfd" providerId="LiveId" clId="{E95ACC03-BF5A-4BFC-B90C-505116CE2BDB}" dt="2025-07-23T22:19:12.599" v="1354" actId="478"/>
          <ac:picMkLst>
            <pc:docMk/>
            <pc:sldMk cId="389441947" sldId="2147377059"/>
            <ac:picMk id="5" creationId="{66FE7B25-410D-EE6D-24E0-4B3C126BFD84}"/>
          </ac:picMkLst>
        </pc:picChg>
        <pc:picChg chg="del mod">
          <ac:chgData name="Leonardo Trevizo H" userId="d285aee106cb5dfd" providerId="LiveId" clId="{E95ACC03-BF5A-4BFC-B90C-505116CE2BDB}" dt="2025-07-23T22:20:13.551" v="1367" actId="478"/>
          <ac:picMkLst>
            <pc:docMk/>
            <pc:sldMk cId="389441947" sldId="2147377059"/>
            <ac:picMk id="8" creationId="{5AB5B7BF-57B9-E298-31C5-44474670795F}"/>
          </ac:picMkLst>
        </pc:picChg>
        <pc:picChg chg="mod">
          <ac:chgData name="Leonardo Trevizo H" userId="d285aee106cb5dfd" providerId="LiveId" clId="{E95ACC03-BF5A-4BFC-B90C-505116CE2BDB}" dt="2025-07-23T22:20:24.509" v="1370" actId="1076"/>
          <ac:picMkLst>
            <pc:docMk/>
            <pc:sldMk cId="389441947" sldId="2147377059"/>
            <ac:picMk id="9" creationId="{1C59B9E0-9E90-360F-FD2C-1E3A70BB310E}"/>
          </ac:picMkLst>
        </pc:picChg>
      </pc:sldChg>
      <pc:sldChg chg="new del">
        <pc:chgData name="Leonardo Trevizo H" userId="d285aee106cb5dfd" providerId="LiveId" clId="{E95ACC03-BF5A-4BFC-B90C-505116CE2BDB}" dt="2025-07-22T02:35:50.518" v="251" actId="2696"/>
        <pc:sldMkLst>
          <pc:docMk/>
          <pc:sldMk cId="1985487210" sldId="2147377060"/>
        </pc:sldMkLst>
      </pc:sldChg>
      <pc:sldChg chg="addSp delSp modSp new del mod">
        <pc:chgData name="Leonardo Trevizo H" userId="d285aee106cb5dfd" providerId="LiveId" clId="{E95ACC03-BF5A-4BFC-B90C-505116CE2BDB}" dt="2025-07-24T00:50:53.580" v="1489" actId="2696"/>
        <pc:sldMkLst>
          <pc:docMk/>
          <pc:sldMk cId="4216640916" sldId="2147377060"/>
        </pc:sldMkLst>
        <pc:spChg chg="del mod">
          <ac:chgData name="Leonardo Trevizo H" userId="d285aee106cb5dfd" providerId="LiveId" clId="{E95ACC03-BF5A-4BFC-B90C-505116CE2BDB}" dt="2025-07-24T00:47:48.588" v="1474" actId="478"/>
          <ac:spMkLst>
            <pc:docMk/>
            <pc:sldMk cId="4216640916" sldId="2147377060"/>
            <ac:spMk id="2" creationId="{E9D60514-590E-17C8-B15C-28AB95C9E5CB}"/>
          </ac:spMkLst>
        </pc:spChg>
        <pc:spChg chg="add del mod">
          <ac:chgData name="Leonardo Trevizo H" userId="d285aee106cb5dfd" providerId="LiveId" clId="{E95ACC03-BF5A-4BFC-B90C-505116CE2BDB}" dt="2025-07-24T00:50:22.399" v="1486" actId="478"/>
          <ac:spMkLst>
            <pc:docMk/>
            <pc:sldMk cId="4216640916" sldId="2147377060"/>
            <ac:spMk id="4" creationId="{D85E52DB-E89F-E3B8-D6A5-8797226A0E37}"/>
          </ac:spMkLst>
        </pc:spChg>
      </pc:sldChg>
      <pc:sldChg chg="addSp delSp modSp new mod modClrScheme chgLayout">
        <pc:chgData name="Leonardo Trevizo H" userId="d285aee106cb5dfd" providerId="LiveId" clId="{E95ACC03-BF5A-4BFC-B90C-505116CE2BDB}" dt="2025-07-23T19:44:37.578" v="1308" actId="20577"/>
        <pc:sldMkLst>
          <pc:docMk/>
          <pc:sldMk cId="2652718214" sldId="2147377061"/>
        </pc:sldMkLst>
        <pc:spChg chg="add mod ord">
          <ac:chgData name="Leonardo Trevizo H" userId="d285aee106cb5dfd" providerId="LiveId" clId="{E95ACC03-BF5A-4BFC-B90C-505116CE2BDB}" dt="2025-07-22T04:06:00.794" v="389"/>
          <ac:spMkLst>
            <pc:docMk/>
            <pc:sldMk cId="2652718214" sldId="2147377061"/>
            <ac:spMk id="9" creationId="{6F17EC37-9942-7F58-C7D6-06586F042040}"/>
          </ac:spMkLst>
        </pc:spChg>
        <pc:spChg chg="add mod ord">
          <ac:chgData name="Leonardo Trevizo H" userId="d285aee106cb5dfd" providerId="LiveId" clId="{E95ACC03-BF5A-4BFC-B90C-505116CE2BDB}" dt="2025-07-22T04:06:12.807" v="415" actId="20577"/>
          <ac:spMkLst>
            <pc:docMk/>
            <pc:sldMk cId="2652718214" sldId="2147377061"/>
            <ac:spMk id="10" creationId="{D31833DB-CF58-8E28-52E9-BF12790C8F3D}"/>
          </ac:spMkLst>
        </pc:spChg>
        <pc:spChg chg="add mod">
          <ac:chgData name="Leonardo Trevizo H" userId="d285aee106cb5dfd" providerId="LiveId" clId="{E95ACC03-BF5A-4BFC-B90C-505116CE2BDB}" dt="2025-07-22T04:06:32.866" v="429" actId="20577"/>
          <ac:spMkLst>
            <pc:docMk/>
            <pc:sldMk cId="2652718214" sldId="2147377061"/>
            <ac:spMk id="12" creationId="{77797A10-E83B-9B18-E4CD-7FFA080D23AF}"/>
          </ac:spMkLst>
        </pc:spChg>
        <pc:spChg chg="add mod">
          <ac:chgData name="Leonardo Trevizo H" userId="d285aee106cb5dfd" providerId="LiveId" clId="{E95ACC03-BF5A-4BFC-B90C-505116CE2BDB}" dt="2025-07-22T04:06:39.926" v="438" actId="20577"/>
          <ac:spMkLst>
            <pc:docMk/>
            <pc:sldMk cId="2652718214" sldId="2147377061"/>
            <ac:spMk id="13" creationId="{040AD682-8CEB-7BA3-0A09-46D3CCD7E0B3}"/>
          </ac:spMkLst>
        </pc:spChg>
        <pc:spChg chg="add mod">
          <ac:chgData name="Leonardo Trevizo H" userId="d285aee106cb5dfd" providerId="LiveId" clId="{E95ACC03-BF5A-4BFC-B90C-505116CE2BDB}" dt="2025-07-22T04:06:45.862" v="448" actId="20577"/>
          <ac:spMkLst>
            <pc:docMk/>
            <pc:sldMk cId="2652718214" sldId="2147377061"/>
            <ac:spMk id="14" creationId="{5BF2F35E-E524-0C17-754B-F4879BCB400F}"/>
          </ac:spMkLst>
        </pc:spChg>
        <pc:spChg chg="add mod">
          <ac:chgData name="Leonardo Trevizo H" userId="d285aee106cb5dfd" providerId="LiveId" clId="{E95ACC03-BF5A-4BFC-B90C-505116CE2BDB}" dt="2025-07-22T04:06:52.444" v="462" actId="20577"/>
          <ac:spMkLst>
            <pc:docMk/>
            <pc:sldMk cId="2652718214" sldId="2147377061"/>
            <ac:spMk id="15" creationId="{BD10C8BD-819C-BA35-C1C5-D7AE8916217A}"/>
          </ac:spMkLst>
        </pc:spChg>
        <pc:graphicFrameChg chg="add mod modGraphic">
          <ac:chgData name="Leonardo Trevizo H" userId="d285aee106cb5dfd" providerId="LiveId" clId="{E95ACC03-BF5A-4BFC-B90C-505116CE2BDB}" dt="2025-07-23T19:44:37.578" v="1308" actId="20577"/>
          <ac:graphicFrameMkLst>
            <pc:docMk/>
            <pc:sldMk cId="2652718214" sldId="2147377061"/>
            <ac:graphicFrameMk id="16" creationId="{0E29907B-C36D-FC44-ACBE-E0C461BA6A68}"/>
          </ac:graphicFrameMkLst>
        </pc:graphicFrameChg>
      </pc:sldChg>
      <pc:sldChg chg="modSp add mod ord">
        <pc:chgData name="Leonardo Trevizo H" userId="d285aee106cb5dfd" providerId="LiveId" clId="{E95ACC03-BF5A-4BFC-B90C-505116CE2BDB}" dt="2025-07-24T04:23:47.748" v="1891" actId="20577"/>
        <pc:sldMkLst>
          <pc:docMk/>
          <pc:sldMk cId="568033107" sldId="2147377062"/>
        </pc:sldMkLst>
        <pc:spChg chg="mod">
          <ac:chgData name="Leonardo Trevizo H" userId="d285aee106cb5dfd" providerId="LiveId" clId="{E95ACC03-BF5A-4BFC-B90C-505116CE2BDB}" dt="2025-07-23T16:40:09.657" v="1272" actId="20577"/>
          <ac:spMkLst>
            <pc:docMk/>
            <pc:sldMk cId="568033107" sldId="2147377062"/>
            <ac:spMk id="2" creationId="{72F28E3C-D1CF-C20C-054E-DF68740B8CCB}"/>
          </ac:spMkLst>
        </pc:spChg>
        <pc:spChg chg="mod">
          <ac:chgData name="Leonardo Trevizo H" userId="d285aee106cb5dfd" providerId="LiveId" clId="{E95ACC03-BF5A-4BFC-B90C-505116CE2BDB}" dt="2025-07-23T18:19:38.329" v="1306" actId="2710"/>
          <ac:spMkLst>
            <pc:docMk/>
            <pc:sldMk cId="568033107" sldId="2147377062"/>
            <ac:spMk id="3" creationId="{C6F9736F-B768-DE90-F3B9-365AA4010F0D}"/>
          </ac:spMkLst>
        </pc:spChg>
        <pc:spChg chg="mod">
          <ac:chgData name="Leonardo Trevizo H" userId="d285aee106cb5dfd" providerId="LiveId" clId="{E95ACC03-BF5A-4BFC-B90C-505116CE2BDB}" dt="2025-07-24T04:23:47.748" v="1891" actId="20577"/>
          <ac:spMkLst>
            <pc:docMk/>
            <pc:sldMk cId="568033107" sldId="2147377062"/>
            <ac:spMk id="4" creationId="{1DCB9AB1-A5A9-FE80-6A27-2E67A9BDBA20}"/>
          </ac:spMkLst>
        </pc:spChg>
      </pc:sldChg>
      <pc:sldChg chg="new del">
        <pc:chgData name="Leonardo Trevizo H" userId="d285aee106cb5dfd" providerId="LiveId" clId="{E95ACC03-BF5A-4BFC-B90C-505116CE2BDB}" dt="2025-07-22T04:02:37.237" v="383" actId="2696"/>
        <pc:sldMkLst>
          <pc:docMk/>
          <pc:sldMk cId="3791953479" sldId="2147377062"/>
        </pc:sldMkLst>
      </pc:sldChg>
      <pc:sldChg chg="delSp modSp add mod">
        <pc:chgData name="Leonardo Trevizo H" userId="d285aee106cb5dfd" providerId="LiveId" clId="{E95ACC03-BF5A-4BFC-B90C-505116CE2BDB}" dt="2025-07-24T00:28:12.243" v="1455" actId="20577"/>
        <pc:sldMkLst>
          <pc:docMk/>
          <pc:sldMk cId="343621335" sldId="2147377063"/>
        </pc:sldMkLst>
        <pc:spChg chg="mod">
          <ac:chgData name="Leonardo Trevizo H" userId="d285aee106cb5dfd" providerId="LiveId" clId="{E95ACC03-BF5A-4BFC-B90C-505116CE2BDB}" dt="2025-07-24T00:28:12.243" v="1455" actId="20577"/>
          <ac:spMkLst>
            <pc:docMk/>
            <pc:sldMk cId="343621335" sldId="2147377063"/>
            <ac:spMk id="4" creationId="{AB5439E1-F026-67AF-0B8A-C017713C4B97}"/>
          </ac:spMkLst>
        </pc:spChg>
        <pc:picChg chg="mod">
          <ac:chgData name="Leonardo Trevizo H" userId="d285aee106cb5dfd" providerId="LiveId" clId="{E95ACC03-BF5A-4BFC-B90C-505116CE2BDB}" dt="2025-07-23T22:20:09.898" v="1366" actId="14100"/>
          <ac:picMkLst>
            <pc:docMk/>
            <pc:sldMk cId="343621335" sldId="2147377063"/>
            <ac:picMk id="8" creationId="{B497332F-745A-9151-F198-1C42BA02E6CE}"/>
          </ac:picMkLst>
        </pc:picChg>
        <pc:picChg chg="del">
          <ac:chgData name="Leonardo Trevizo H" userId="d285aee106cb5dfd" providerId="LiveId" clId="{E95ACC03-BF5A-4BFC-B90C-505116CE2BDB}" dt="2025-07-23T22:19:33.855" v="1360" actId="478"/>
          <ac:picMkLst>
            <pc:docMk/>
            <pc:sldMk cId="343621335" sldId="2147377063"/>
            <ac:picMk id="9" creationId="{0EA708C3-04B6-29D8-D3DA-6A45F17E3993}"/>
          </ac:picMkLst>
        </pc:picChg>
      </pc:sldChg>
      <pc:sldChg chg="addSp delSp modSp new mod modClrScheme chgLayout">
        <pc:chgData name="Leonardo Trevizo H" userId="d285aee106cb5dfd" providerId="LiveId" clId="{E95ACC03-BF5A-4BFC-B90C-505116CE2BDB}" dt="2025-07-24T03:34:59.275" v="1866" actId="6549"/>
        <pc:sldMkLst>
          <pc:docMk/>
          <pc:sldMk cId="1352389617" sldId="2147377064"/>
        </pc:sldMkLst>
        <pc:spChg chg="mod ord">
          <ac:chgData name="Leonardo Trevizo H" userId="d285aee106cb5dfd" providerId="LiveId" clId="{E95ACC03-BF5A-4BFC-B90C-505116CE2BDB}" dt="2025-07-24T02:10:57.415" v="1547" actId="207"/>
          <ac:spMkLst>
            <pc:docMk/>
            <pc:sldMk cId="1352389617" sldId="2147377064"/>
            <ac:spMk id="2" creationId="{12C4A096-5963-691E-C104-F4C143DA924E}"/>
          </ac:spMkLst>
        </pc:spChg>
        <pc:spChg chg="del">
          <ac:chgData name="Leonardo Trevizo H" userId="d285aee106cb5dfd" providerId="LiveId" clId="{E95ACC03-BF5A-4BFC-B90C-505116CE2BDB}" dt="2025-07-24T00:50:48.676" v="1488" actId="26606"/>
          <ac:spMkLst>
            <pc:docMk/>
            <pc:sldMk cId="1352389617" sldId="2147377064"/>
            <ac:spMk id="3" creationId="{56CCD090-AF51-9F00-1DAC-970FC9C4F813}"/>
          </ac:spMkLst>
        </pc:spChg>
        <pc:spChg chg="del">
          <ac:chgData name="Leonardo Trevizo H" userId="d285aee106cb5dfd" providerId="LiveId" clId="{E95ACC03-BF5A-4BFC-B90C-505116CE2BDB}" dt="2025-07-24T00:50:48.676" v="1488" actId="26606"/>
          <ac:spMkLst>
            <pc:docMk/>
            <pc:sldMk cId="1352389617" sldId="2147377064"/>
            <ac:spMk id="4" creationId="{9348C760-530D-0BFA-390A-9F4443E8C128}"/>
          </ac:spMkLst>
        </pc:spChg>
        <pc:spChg chg="add mod">
          <ac:chgData name="Leonardo Trevizo H" userId="d285aee106cb5dfd" providerId="LiveId" clId="{E95ACC03-BF5A-4BFC-B90C-505116CE2BDB}" dt="2025-07-24T03:34:59.275" v="1866" actId="6549"/>
          <ac:spMkLst>
            <pc:docMk/>
            <pc:sldMk cId="1352389617" sldId="2147377064"/>
            <ac:spMk id="5" creationId="{8563FE4F-166A-3740-50EF-3AC6BF55C958}"/>
          </ac:spMkLst>
        </pc:spChg>
        <pc:graphicFrameChg chg="add del modGraphic">
          <ac:chgData name="Leonardo Trevizo H" userId="d285aee106cb5dfd" providerId="LiveId" clId="{E95ACC03-BF5A-4BFC-B90C-505116CE2BDB}" dt="2025-07-24T00:51:31.811" v="1492" actId="478"/>
          <ac:graphicFrameMkLst>
            <pc:docMk/>
            <pc:sldMk cId="1352389617" sldId="2147377064"/>
            <ac:graphicFrameMk id="6" creationId="{9348C760-530D-0BFA-390A-9F4443E8C128}"/>
          </ac:graphicFrameMkLst>
        </pc:graphicFrameChg>
      </pc:sldChg>
    </pc:docChg>
  </pc:docChgLst>
  <pc:docChgLst>
    <pc:chgData name="Leonardo Trevizo H" userId="d285aee106cb5dfd" providerId="LiveId" clId="{E346F35C-DBB4-438E-9FE7-93CF25C40883}"/>
    <pc:docChg chg="undo redo custSel addSld delSld modSld sldOrd addSection delSection">
      <pc:chgData name="Leonardo Trevizo H" userId="d285aee106cb5dfd" providerId="LiveId" clId="{E346F35C-DBB4-438E-9FE7-93CF25C40883}" dt="2025-07-11T04:20:59.822" v="2165" actId="47"/>
      <pc:docMkLst>
        <pc:docMk/>
      </pc:docMkLst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289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408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441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1809073826" sldId="597"/>
        </pc:sldMkLst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2" creationId="{ED72DFD0-EE17-47CC-B412-A1140BFA0926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3" creationId="{ABFB262C-26B3-43C9-942E-80D092E4F0B8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5" creationId="{DD9B380A-F4B7-4C33-89E3-79B31EEEC7EA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7" creationId="{D7C7179F-9234-4709-9B4E-BBA3DC657177}"/>
          </ac:spMkLst>
        </pc:spChg>
      </pc:sldChg>
      <pc:sldChg chg="del">
        <pc:chgData name="Leonardo Trevizo H" userId="d285aee106cb5dfd" providerId="LiveId" clId="{E346F35C-DBB4-438E-9FE7-93CF25C40883}" dt="2025-07-09T03:33:31.689" v="248" actId="2696"/>
        <pc:sldMkLst>
          <pc:docMk/>
          <pc:sldMk cId="2580273606" sldId="2147376792"/>
        </pc:sldMkLst>
      </pc:sldChg>
      <pc:sldChg chg="modSp del mod">
        <pc:chgData name="Leonardo Trevizo H" userId="d285aee106cb5dfd" providerId="LiveId" clId="{E346F35C-DBB4-438E-9FE7-93CF25C40883}" dt="2025-07-10T16:28:07.964" v="1750" actId="2696"/>
        <pc:sldMkLst>
          <pc:docMk/>
          <pc:sldMk cId="3162347461" sldId="2147376793"/>
        </pc:sldMkLst>
      </pc:sldChg>
      <pc:sldChg chg="modSp del mod">
        <pc:chgData name="Leonardo Trevizo H" userId="d285aee106cb5dfd" providerId="LiveId" clId="{E346F35C-DBB4-438E-9FE7-93CF25C40883}" dt="2025-07-09T03:33:31.689" v="248" actId="2696"/>
        <pc:sldMkLst>
          <pc:docMk/>
          <pc:sldMk cId="51351079" sldId="2147376794"/>
        </pc:sldMkLst>
      </pc:sldChg>
      <pc:sldChg chg="addSp delSp modSp mod ord modClrScheme chgLayout">
        <pc:chgData name="Leonardo Trevizo H" userId="d285aee106cb5dfd" providerId="LiveId" clId="{E346F35C-DBB4-438E-9FE7-93CF25C40883}" dt="2025-07-09T04:09:10.514" v="677" actId="1076"/>
        <pc:sldMkLst>
          <pc:docMk/>
          <pc:sldMk cId="2185351981" sldId="2147376795"/>
        </pc:sldMkLst>
        <pc:picChg chg="add mod">
          <ac:chgData name="Leonardo Trevizo H" userId="d285aee106cb5dfd" providerId="LiveId" clId="{E346F35C-DBB4-438E-9FE7-93CF25C40883}" dt="2025-07-09T04:08:29.547" v="673" actId="1076"/>
          <ac:picMkLst>
            <pc:docMk/>
            <pc:sldMk cId="2185351981" sldId="2147376795"/>
            <ac:picMk id="5" creationId="{D808C843-A93E-D424-48AA-CF98B62120CF}"/>
          </ac:picMkLst>
        </pc:picChg>
        <pc:picChg chg="mod">
          <ac:chgData name="Leonardo Trevizo H" userId="d285aee106cb5dfd" providerId="LiveId" clId="{E346F35C-DBB4-438E-9FE7-93CF25C40883}" dt="2025-07-09T04:08:38.524" v="675" actId="1076"/>
          <ac:picMkLst>
            <pc:docMk/>
            <pc:sldMk cId="2185351981" sldId="2147376795"/>
            <ac:picMk id="11" creationId="{1F328EA3-BBFE-34CF-6E05-4D2E65D86935}"/>
          </ac:picMkLst>
        </pc:picChg>
        <pc:picChg chg="mod">
          <ac:chgData name="Leonardo Trevizo H" userId="d285aee106cb5dfd" providerId="LiveId" clId="{E346F35C-DBB4-438E-9FE7-93CF25C40883}" dt="2025-07-09T04:09:10.514" v="677" actId="1076"/>
          <ac:picMkLst>
            <pc:docMk/>
            <pc:sldMk cId="2185351981" sldId="2147376795"/>
            <ac:picMk id="14" creationId="{2BC2BE99-CAB1-AC8B-C4D6-70892490E842}"/>
          </ac:picMkLst>
        </pc:picChg>
        <pc:picChg chg="add mod">
          <ac:chgData name="Leonardo Trevizo H" userId="d285aee106cb5dfd" providerId="LiveId" clId="{E346F35C-DBB4-438E-9FE7-93CF25C40883}" dt="2025-07-09T04:08:17.688" v="670" actId="1076"/>
          <ac:picMkLst>
            <pc:docMk/>
            <pc:sldMk cId="2185351981" sldId="2147376795"/>
            <ac:picMk id="23" creationId="{AE06A257-14F9-1552-6FF0-9759E899882D}"/>
          </ac:picMkLst>
        </pc:picChg>
        <pc:picChg chg="add mod">
          <ac:chgData name="Leonardo Trevizo H" userId="d285aee106cb5dfd" providerId="LiveId" clId="{E346F35C-DBB4-438E-9FE7-93CF25C40883}" dt="2025-07-09T04:08:32.514" v="674" actId="1076"/>
          <ac:picMkLst>
            <pc:docMk/>
            <pc:sldMk cId="2185351981" sldId="2147376795"/>
            <ac:picMk id="24" creationId="{53C4FDBD-7207-F39B-F7F8-E35F6EEC639E}"/>
          </ac:picMkLst>
        </pc:picChg>
        <pc:picChg chg="add mod">
          <ac:chgData name="Leonardo Trevizo H" userId="d285aee106cb5dfd" providerId="LiveId" clId="{E346F35C-DBB4-438E-9FE7-93CF25C40883}" dt="2025-07-09T04:07:24.568" v="661" actId="1076"/>
          <ac:picMkLst>
            <pc:docMk/>
            <pc:sldMk cId="2185351981" sldId="2147376795"/>
            <ac:picMk id="27" creationId="{66F6391D-2ED5-9E41-C252-5FE746FF6A7A}"/>
          </ac:picMkLst>
        </pc:picChg>
        <pc:picChg chg="add mod">
          <ac:chgData name="Leonardo Trevizo H" userId="d285aee106cb5dfd" providerId="LiveId" clId="{E346F35C-DBB4-438E-9FE7-93CF25C40883}" dt="2025-07-09T04:08:20.876" v="671" actId="1076"/>
          <ac:picMkLst>
            <pc:docMk/>
            <pc:sldMk cId="2185351981" sldId="2147376795"/>
            <ac:picMk id="28" creationId="{1CD428FC-078C-692A-0DA9-4C60FC42C359}"/>
          </ac:picMkLst>
        </pc:picChg>
        <pc:picChg chg="add mod">
          <ac:chgData name="Leonardo Trevizo H" userId="d285aee106cb5dfd" providerId="LiveId" clId="{E346F35C-DBB4-438E-9FE7-93CF25C40883}" dt="2025-07-09T04:08:24.178" v="672" actId="1076"/>
          <ac:picMkLst>
            <pc:docMk/>
            <pc:sldMk cId="2185351981" sldId="2147376795"/>
            <ac:picMk id="29" creationId="{49CC21D6-7B8E-0EC6-C852-A4D85AE3398E}"/>
          </ac:picMkLst>
        </pc:picChg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857445882" sldId="2147376797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4106685361" sldId="2147376798"/>
        </pc:sldMkLst>
      </pc:sldChg>
      <pc:sldChg chg="modSp del mod">
        <pc:chgData name="Leonardo Trevizo H" userId="d285aee106cb5dfd" providerId="LiveId" clId="{E346F35C-DBB4-438E-9FE7-93CF25C40883}" dt="2025-07-09T03:33:31.689" v="248" actId="2696"/>
        <pc:sldMkLst>
          <pc:docMk/>
          <pc:sldMk cId="3329269199" sldId="2147376799"/>
        </pc:sldMkLst>
      </pc:sldChg>
      <pc:sldChg chg="addSp modSp mod ord">
        <pc:chgData name="Leonardo Trevizo H" userId="d285aee106cb5dfd" providerId="LiveId" clId="{E346F35C-DBB4-438E-9FE7-93CF25C40883}" dt="2025-07-11T01:23:01.707" v="2085" actId="20577"/>
        <pc:sldMkLst>
          <pc:docMk/>
          <pc:sldMk cId="2373028972" sldId="2147376800"/>
        </pc:sldMkLst>
        <pc:spChg chg="mod">
          <ac:chgData name="Leonardo Trevizo H" userId="d285aee106cb5dfd" providerId="LiveId" clId="{E346F35C-DBB4-438E-9FE7-93CF25C40883}" dt="2025-07-09T23:26:27.030" v="1510"/>
          <ac:spMkLst>
            <pc:docMk/>
            <pc:sldMk cId="2373028972" sldId="2147376800"/>
            <ac:spMk id="2" creationId="{A4896D03-5F31-B04A-48BC-2317BD5A19EA}"/>
          </ac:spMkLst>
        </pc:spChg>
        <pc:spChg chg="mod">
          <ac:chgData name="Leonardo Trevizo H" userId="d285aee106cb5dfd" providerId="LiveId" clId="{E346F35C-DBB4-438E-9FE7-93CF25C40883}" dt="2025-07-09T23:26:35.148" v="1512" actId="20577"/>
          <ac:spMkLst>
            <pc:docMk/>
            <pc:sldMk cId="2373028972" sldId="2147376800"/>
            <ac:spMk id="3" creationId="{73788D32-2EB3-BE5D-447F-5B383312D5ED}"/>
          </ac:spMkLst>
        </pc:spChg>
        <pc:spChg chg="mod">
          <ac:chgData name="Leonardo Trevizo H" userId="d285aee106cb5dfd" providerId="LiveId" clId="{E346F35C-DBB4-438E-9FE7-93CF25C40883}" dt="2025-07-10T03:00:15.925" v="1671" actId="20577"/>
          <ac:spMkLst>
            <pc:docMk/>
            <pc:sldMk cId="2373028972" sldId="2147376800"/>
            <ac:spMk id="4" creationId="{1CAB4CBA-3FEF-CBA6-116F-BD7EAB398CA9}"/>
          </ac:spMkLst>
        </pc:spChg>
        <pc:spChg chg="mod">
          <ac:chgData name="Leonardo Trevizo H" userId="d285aee106cb5dfd" providerId="LiveId" clId="{E346F35C-DBB4-438E-9FE7-93CF25C40883}" dt="2025-07-11T01:23:01.707" v="2085" actId="20577"/>
          <ac:spMkLst>
            <pc:docMk/>
            <pc:sldMk cId="2373028972" sldId="2147376800"/>
            <ac:spMk id="5" creationId="{CF4B80C3-F116-2E6B-7E72-2BE885F878A5}"/>
          </ac:spMkLst>
        </pc:spChg>
        <pc:picChg chg="add mod">
          <ac:chgData name="Leonardo Trevizo H" userId="d285aee106cb5dfd" providerId="LiveId" clId="{E346F35C-DBB4-438E-9FE7-93CF25C40883}" dt="2025-07-09T23:29:29.187" v="1544" actId="1076"/>
          <ac:picMkLst>
            <pc:docMk/>
            <pc:sldMk cId="2373028972" sldId="2147376800"/>
            <ac:picMk id="7" creationId="{C590C0A8-070E-3ABC-02C9-94B0A893F984}"/>
          </ac:picMkLst>
        </pc:picChg>
        <pc:picChg chg="add mod">
          <ac:chgData name="Leonardo Trevizo H" userId="d285aee106cb5dfd" providerId="LiveId" clId="{E346F35C-DBB4-438E-9FE7-93CF25C40883}" dt="2025-07-09T23:30:23.181" v="1569" actId="1076"/>
          <ac:picMkLst>
            <pc:docMk/>
            <pc:sldMk cId="2373028972" sldId="2147376800"/>
            <ac:picMk id="8" creationId="{4B0DB8BE-E6D6-D502-2BE6-B812DF6739EA}"/>
          </ac:picMkLst>
        </pc:picChg>
        <pc:picChg chg="add mod">
          <ac:chgData name="Leonardo Trevizo H" userId="d285aee106cb5dfd" providerId="LiveId" clId="{E346F35C-DBB4-438E-9FE7-93CF25C40883}" dt="2025-07-09T23:32:54.046" v="1593" actId="1076"/>
          <ac:picMkLst>
            <pc:docMk/>
            <pc:sldMk cId="2373028972" sldId="2147376800"/>
            <ac:picMk id="9" creationId="{7220EC46-1210-763C-5AB7-B9B7F8717E5D}"/>
          </ac:picMkLst>
        </pc:picChg>
        <pc:picChg chg="add mod">
          <ac:chgData name="Leonardo Trevizo H" userId="d285aee106cb5dfd" providerId="LiveId" clId="{E346F35C-DBB4-438E-9FE7-93CF25C40883}" dt="2025-07-11T01:15:22.318" v="2041" actId="1076"/>
          <ac:picMkLst>
            <pc:docMk/>
            <pc:sldMk cId="2373028972" sldId="2147376800"/>
            <ac:picMk id="10" creationId="{663F770D-11CE-3FEF-03E1-43DC4351008D}"/>
          </ac:picMkLst>
        </pc:picChg>
      </pc:sldChg>
      <pc:sldChg chg="modSp del mod">
        <pc:chgData name="Leonardo Trevizo H" userId="d285aee106cb5dfd" providerId="LiveId" clId="{E346F35C-DBB4-438E-9FE7-93CF25C40883}" dt="2025-07-09T03:33:31.689" v="248" actId="2696"/>
        <pc:sldMkLst>
          <pc:docMk/>
          <pc:sldMk cId="2636642438" sldId="2147376801"/>
        </pc:sldMkLst>
      </pc:sldChg>
      <pc:sldChg chg="addSp modSp add del mod ord">
        <pc:chgData name="Leonardo Trevizo H" userId="d285aee106cb5dfd" providerId="LiveId" clId="{E346F35C-DBB4-438E-9FE7-93CF25C40883}" dt="2025-07-09T04:22:14.505" v="829" actId="47"/>
        <pc:sldMkLst>
          <pc:docMk/>
          <pc:sldMk cId="3896329313" sldId="2147376802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774399355" sldId="2147377002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022615002" sldId="2147377042"/>
        </pc:sldMkLst>
      </pc:sldChg>
      <pc:sldChg chg="addSp delSp modSp mod ord">
        <pc:chgData name="Leonardo Trevizo H" userId="d285aee106cb5dfd" providerId="LiveId" clId="{E346F35C-DBB4-438E-9FE7-93CF25C40883}" dt="2025-07-11T04:06:02.462" v="2132"/>
        <pc:sldMkLst>
          <pc:docMk/>
          <pc:sldMk cId="387445325" sldId="2147377043"/>
        </pc:sldMkLst>
        <pc:spChg chg="add del mod">
          <ac:chgData name="Leonardo Trevizo H" userId="d285aee106cb5dfd" providerId="LiveId" clId="{E346F35C-DBB4-438E-9FE7-93CF25C40883}" dt="2025-07-09T22:55:14.224" v="1238" actId="790"/>
          <ac:spMkLst>
            <pc:docMk/>
            <pc:sldMk cId="387445325" sldId="2147377043"/>
            <ac:spMk id="2" creationId="{9746E629-E743-BA0F-5E14-2B7887801DBB}"/>
          </ac:spMkLst>
        </pc:spChg>
        <pc:spChg chg="add del mod">
          <ac:chgData name="Leonardo Trevizo H" userId="d285aee106cb5dfd" providerId="LiveId" clId="{E346F35C-DBB4-438E-9FE7-93CF25C40883}" dt="2025-07-11T02:53:55.300" v="2124" actId="20577"/>
          <ac:spMkLst>
            <pc:docMk/>
            <pc:sldMk cId="387445325" sldId="2147377043"/>
            <ac:spMk id="4" creationId="{BCD44CFF-377F-BDD8-86C3-D54CAE1AA376}"/>
          </ac:spMkLst>
        </pc:spChg>
        <pc:picChg chg="mod">
          <ac:chgData name="Leonardo Trevizo H" userId="d285aee106cb5dfd" providerId="LiveId" clId="{E346F35C-DBB4-438E-9FE7-93CF25C40883}" dt="2025-07-11T04:06:02.462" v="2132"/>
          <ac:picMkLst>
            <pc:docMk/>
            <pc:sldMk cId="387445325" sldId="2147377043"/>
            <ac:picMk id="9" creationId="{100A1D89-B204-FEA0-7956-EA8A52594857}"/>
          </ac:picMkLst>
        </pc:picChg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1533227966" sldId="2147377044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355645910" sldId="2147377045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3504163205" sldId="2147377046"/>
        </pc:sldMkLst>
      </pc:sldChg>
      <pc:sldChg chg="modSp mod ord">
        <pc:chgData name="Leonardo Trevizo H" userId="d285aee106cb5dfd" providerId="LiveId" clId="{E346F35C-DBB4-438E-9FE7-93CF25C40883}" dt="2025-07-10T04:16:58.402" v="1677"/>
        <pc:sldMkLst>
          <pc:docMk/>
          <pc:sldMk cId="2083196309" sldId="2147377048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4236825882" sldId="2147377049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318367447" sldId="2147377050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2147377051"/>
        </pc:sldMkLst>
      </pc:sldChg>
      <pc:sldChg chg="addSp delSp modSp mod">
        <pc:chgData name="Leonardo Trevizo H" userId="d285aee106cb5dfd" providerId="LiveId" clId="{E346F35C-DBB4-438E-9FE7-93CF25C40883}" dt="2025-07-09T23:07:09.530" v="1364" actId="478"/>
        <pc:sldMkLst>
          <pc:docMk/>
          <pc:sldMk cId="2360522094" sldId="2147377052"/>
        </pc:sldMkLst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2360522094" sldId="2147377052"/>
            <ac:spMk id="2" creationId="{6BEC61B8-C96A-2360-6AA3-38449F8FF9D1}"/>
          </ac:spMkLst>
        </pc:spChg>
        <pc:spChg chg="mod">
          <ac:chgData name="Leonardo Trevizo H" userId="d285aee106cb5dfd" providerId="LiveId" clId="{E346F35C-DBB4-438E-9FE7-93CF25C40883}" dt="2025-07-09T23:05:32.102" v="1358" actId="20577"/>
          <ac:spMkLst>
            <pc:docMk/>
            <pc:sldMk cId="2360522094" sldId="2147377052"/>
            <ac:spMk id="3" creationId="{FC4678C4-EDA3-7BCF-DDD4-0F2038395B5C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2360522094" sldId="2147377052"/>
            <ac:spMk id="4" creationId="{C62F9380-8B5B-8B9B-06BD-77B10C337FA1}"/>
          </ac:spMkLst>
        </pc:spChg>
      </pc:sldChg>
      <pc:sldChg chg="modSp add del mod ord">
        <pc:chgData name="Leonardo Trevizo H" userId="d285aee106cb5dfd" providerId="LiveId" clId="{E346F35C-DBB4-438E-9FE7-93CF25C40883}" dt="2025-07-09T04:22:14.505" v="829" actId="47"/>
        <pc:sldMkLst>
          <pc:docMk/>
          <pc:sldMk cId="3839660198" sldId="2147377053"/>
        </pc:sldMkLst>
      </pc:sldChg>
      <pc:sldChg chg="modSp add del mod">
        <pc:chgData name="Leonardo Trevizo H" userId="d285aee106cb5dfd" providerId="LiveId" clId="{E346F35C-DBB4-438E-9FE7-93CF25C40883}" dt="2025-07-11T04:20:59.822" v="2165" actId="47"/>
        <pc:sldMkLst>
          <pc:docMk/>
          <pc:sldMk cId="1684834052" sldId="2147377054"/>
        </pc:sldMkLst>
      </pc:sldChg>
      <pc:sldChg chg="del">
        <pc:chgData name="Leonardo Trevizo H" userId="d285aee106cb5dfd" providerId="LiveId" clId="{E346F35C-DBB4-438E-9FE7-93CF25C40883}" dt="2025-07-09T02:00:30.269" v="0" actId="2696"/>
        <pc:sldMkLst>
          <pc:docMk/>
          <pc:sldMk cId="2717806391" sldId="2147377054"/>
        </pc:sldMkLst>
      </pc:sldChg>
      <pc:sldChg chg="addSp delSp modSp new del mod modClrScheme chgLayout">
        <pc:chgData name="Leonardo Trevizo H" userId="d285aee106cb5dfd" providerId="LiveId" clId="{E346F35C-DBB4-438E-9FE7-93CF25C40883}" dt="2025-07-09T03:33:31.689" v="248" actId="2696"/>
        <pc:sldMkLst>
          <pc:docMk/>
          <pc:sldMk cId="3142464856" sldId="2147377055"/>
        </pc:sldMkLst>
      </pc:sldChg>
      <pc:sldChg chg="addSp delSp modSp new mod modClrScheme chgLayout">
        <pc:chgData name="Leonardo Trevizo H" userId="d285aee106cb5dfd" providerId="LiveId" clId="{E346F35C-DBB4-438E-9FE7-93CF25C40883}" dt="2025-07-09T22:55:14.224" v="1238" actId="790"/>
        <pc:sldMkLst>
          <pc:docMk/>
          <pc:sldMk cId="3426862659" sldId="2147377055"/>
        </pc:sldMkLst>
        <pc:spChg chg="add mod ord">
          <ac:chgData name="Leonardo Trevizo H" userId="d285aee106cb5dfd" providerId="LiveId" clId="{E346F35C-DBB4-438E-9FE7-93CF25C40883}" dt="2025-07-09T22:55:14.224" v="1238" actId="790"/>
          <ac:spMkLst>
            <pc:docMk/>
            <pc:sldMk cId="3426862659" sldId="2147377055"/>
            <ac:spMk id="5" creationId="{71539A39-9577-2F3C-DDB3-17764D3F96CB}"/>
          </ac:spMkLst>
        </pc:spChg>
      </pc:sldChg>
      <pc:sldChg chg="modSp add mod ord">
        <pc:chgData name="Leonardo Trevizo H" userId="d285aee106cb5dfd" providerId="LiveId" clId="{E346F35C-DBB4-438E-9FE7-93CF25C40883}" dt="2025-07-09T22:55:14.224" v="1238" actId="790"/>
        <pc:sldMkLst>
          <pc:docMk/>
          <pc:sldMk cId="3810529186" sldId="2147377056"/>
        </pc:sldMkLst>
      </pc:sldChg>
      <pc:sldChg chg="modSp add mod">
        <pc:chgData name="Leonardo Trevizo H" userId="d285aee106cb5dfd" providerId="LiveId" clId="{E346F35C-DBB4-438E-9FE7-93CF25C40883}" dt="2025-07-09T22:55:14.224" v="1238" actId="790"/>
        <pc:sldMkLst>
          <pc:docMk/>
          <pc:sldMk cId="689628788" sldId="2147377057"/>
        </pc:sldMkLst>
      </pc:sldChg>
      <pc:sldChg chg="addSp delSp modSp add mod ord">
        <pc:chgData name="Leonardo Trevizo H" userId="d285aee106cb5dfd" providerId="LiveId" clId="{E346F35C-DBB4-438E-9FE7-93CF25C40883}" dt="2025-07-11T01:11:30.264" v="2022"/>
        <pc:sldMkLst>
          <pc:docMk/>
          <pc:sldMk cId="659352313" sldId="2147377058"/>
        </pc:sldMkLst>
      </pc:sldChg>
      <pc:sldChg chg="addSp modSp add mod">
        <pc:chgData name="Leonardo Trevizo H" userId="d285aee106cb5dfd" providerId="LiveId" clId="{E346F35C-DBB4-438E-9FE7-93CF25C40883}" dt="2025-07-11T04:20:48.154" v="2164"/>
        <pc:sldMkLst>
          <pc:docMk/>
          <pc:sldMk cId="389441947" sldId="2147377059"/>
        </pc:sldMkLst>
        <pc:spChg chg="mod">
          <ac:chgData name="Leonardo Trevizo H" userId="d285aee106cb5dfd" providerId="LiveId" clId="{E346F35C-DBB4-438E-9FE7-93CF25C40883}" dt="2025-07-11T04:06:26.141" v="2149" actId="20577"/>
          <ac:spMkLst>
            <pc:docMk/>
            <pc:sldMk cId="389441947" sldId="2147377059"/>
            <ac:spMk id="4" creationId="{F6CF1979-500E-3B68-B51B-4F2FB18744A3}"/>
          </ac:spMkLst>
        </pc:spChg>
        <pc:picChg chg="mod">
          <ac:chgData name="Leonardo Trevizo H" userId="d285aee106cb5dfd" providerId="LiveId" clId="{E346F35C-DBB4-438E-9FE7-93CF25C40883}" dt="2025-07-11T04:19:21.446" v="2152" actId="1076"/>
          <ac:picMkLst>
            <pc:docMk/>
            <pc:sldMk cId="389441947" sldId="2147377059"/>
            <ac:picMk id="9" creationId="{1C59B9E0-9E90-360F-FD2C-1E3A70BB310E}"/>
          </ac:picMkLst>
        </pc:picChg>
      </pc:sldChg>
    </pc:docChg>
  </pc:docChgLst>
  <pc:docChgLst>
    <pc:chgData name="Leonardo Trevizo H" userId="d285aee106cb5dfd" providerId="LiveId" clId="{8D2E730C-A453-49A1-8801-6F23F632EC47}"/>
    <pc:docChg chg="custSel addSld delSld modSld">
      <pc:chgData name="Leonardo Trevizo H" userId="d285aee106cb5dfd" providerId="LiveId" clId="{8D2E730C-A453-49A1-8801-6F23F632EC47}" dt="2025-07-18T04:18:22.167" v="553" actId="20577"/>
      <pc:docMkLst>
        <pc:docMk/>
      </pc:docMkLst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289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408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441"/>
        </pc:sldMkLst>
      </pc:sldChg>
      <pc:sldChg chg="modSp mod">
        <pc:chgData name="Leonardo Trevizo H" userId="d285aee106cb5dfd" providerId="LiveId" clId="{8D2E730C-A453-49A1-8801-6F23F632EC47}" dt="2025-07-18T04:18:22.167" v="553" actId="20577"/>
        <pc:sldMkLst>
          <pc:docMk/>
          <pc:sldMk cId="1809073826" sldId="597"/>
        </pc:sldMkLst>
        <pc:spChg chg="mod">
          <ac:chgData name="Leonardo Trevizo H" userId="d285aee106cb5dfd" providerId="LiveId" clId="{8D2E730C-A453-49A1-8801-6F23F632EC47}" dt="2025-07-18T04:18:22.167" v="553" actId="20577"/>
          <ac:spMkLst>
            <pc:docMk/>
            <pc:sldMk cId="1809073826" sldId="597"/>
            <ac:spMk id="2" creationId="{ED72DFD0-EE17-47CC-B412-A1140BFA0926}"/>
          </ac:spMkLst>
        </pc:spChg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857445882" sldId="2147376797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4106685361" sldId="2147376798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774399355" sldId="2147377002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022615002" sldId="2147377042"/>
        </pc:sldMkLst>
      </pc:sldChg>
      <pc:sldChg chg="modSp mod">
        <pc:chgData name="Leonardo Trevizo H" userId="d285aee106cb5dfd" providerId="LiveId" clId="{8D2E730C-A453-49A1-8801-6F23F632EC47}" dt="2025-07-14T19:57:20.205" v="1" actId="20577"/>
        <pc:sldMkLst>
          <pc:docMk/>
          <pc:sldMk cId="387445325" sldId="2147377043"/>
        </pc:sldMkLst>
        <pc:spChg chg="mod">
          <ac:chgData name="Leonardo Trevizo H" userId="d285aee106cb5dfd" providerId="LiveId" clId="{8D2E730C-A453-49A1-8801-6F23F632EC47}" dt="2025-07-14T19:57:20.205" v="1" actId="20577"/>
          <ac:spMkLst>
            <pc:docMk/>
            <pc:sldMk cId="387445325" sldId="2147377043"/>
            <ac:spMk id="4" creationId="{BCD44CFF-377F-BDD8-86C3-D54CAE1AA376}"/>
          </ac:spMkLst>
        </pc:spChg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1533227966" sldId="2147377044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355645910" sldId="2147377045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3504163205" sldId="2147377046"/>
        </pc:sldMkLst>
      </pc:sldChg>
      <pc:sldChg chg="del">
        <pc:chgData name="Leonardo Trevizo H" userId="d285aee106cb5dfd" providerId="LiveId" clId="{8D2E730C-A453-49A1-8801-6F23F632EC47}" dt="2025-07-14T23:19:02.136" v="510" actId="47"/>
        <pc:sldMkLst>
          <pc:docMk/>
          <pc:sldMk cId="2083196309" sldId="2147377048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4236825882" sldId="2147377049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318367447" sldId="2147377050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2147377051"/>
        </pc:sldMkLst>
      </pc:sldChg>
      <pc:sldChg chg="addSp delSp modSp mod modClrScheme chgLayout">
        <pc:chgData name="Leonardo Trevizo H" userId="d285aee106cb5dfd" providerId="LiveId" clId="{8D2E730C-A453-49A1-8801-6F23F632EC47}" dt="2025-07-14T22:47:03.657" v="32" actId="478"/>
        <pc:sldMkLst>
          <pc:docMk/>
          <pc:sldMk cId="3810529186" sldId="2147377056"/>
        </pc:sldMkLst>
      </pc:sldChg>
      <pc:sldChg chg="modSp mod">
        <pc:chgData name="Leonardo Trevizo H" userId="d285aee106cb5dfd" providerId="LiveId" clId="{8D2E730C-A453-49A1-8801-6F23F632EC47}" dt="2025-07-14T23:28:56.530" v="520" actId="207"/>
        <pc:sldMkLst>
          <pc:docMk/>
          <pc:sldMk cId="689628788" sldId="2147377057"/>
        </pc:sldMkLst>
      </pc:sldChg>
      <pc:sldChg chg="modSp mod">
        <pc:chgData name="Leonardo Trevizo H" userId="d285aee106cb5dfd" providerId="LiveId" clId="{8D2E730C-A453-49A1-8801-6F23F632EC47}" dt="2025-07-14T22:49:45.839" v="66" actId="20577"/>
        <pc:sldMkLst>
          <pc:docMk/>
          <pc:sldMk cId="659352313" sldId="2147377058"/>
        </pc:sldMkLst>
      </pc:sldChg>
      <pc:sldChg chg="modSp mod">
        <pc:chgData name="Leonardo Trevizo H" userId="d285aee106cb5dfd" providerId="LiveId" clId="{8D2E730C-A453-49A1-8801-6F23F632EC47}" dt="2025-07-14T19:57:25.929" v="3" actId="20577"/>
        <pc:sldMkLst>
          <pc:docMk/>
          <pc:sldMk cId="389441947" sldId="2147377059"/>
        </pc:sldMkLst>
        <pc:spChg chg="mod">
          <ac:chgData name="Leonardo Trevizo H" userId="d285aee106cb5dfd" providerId="LiveId" clId="{8D2E730C-A453-49A1-8801-6F23F632EC47}" dt="2025-07-14T19:57:25.929" v="3" actId="20577"/>
          <ac:spMkLst>
            <pc:docMk/>
            <pc:sldMk cId="389441947" sldId="2147377059"/>
            <ac:spMk id="4" creationId="{F6CF1979-500E-3B68-B51B-4F2FB18744A3}"/>
          </ac:spMkLst>
        </pc:spChg>
      </pc:sldChg>
      <pc:sldChg chg="new del">
        <pc:chgData name="Leonardo Trevizo H" userId="d285aee106cb5dfd" providerId="LiveId" clId="{8D2E730C-A453-49A1-8801-6F23F632EC47}" dt="2025-07-14T23:18:55.122" v="509" actId="47"/>
        <pc:sldMkLst>
          <pc:docMk/>
          <pc:sldMk cId="4133993938" sldId="214737706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C923622-40DB-AE0B-C389-B417A324A6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9674A-3241-E5DD-960C-19F10392181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A1E2DE-B349-47A3-920B-44F944D2FBF5}" type="datetimeFigureOut">
              <a:rPr lang="en-US" smtClean="0"/>
              <a:t>7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0AD1B1-2421-83C2-24E9-1D1488821C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C5210E-9308-8192-CE74-F74906416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4EAAD1-06BE-43B8-9B88-5A648DC0A1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941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123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522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564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9E12A-226D-3901-3602-50A75F0DA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36F1F5-C8B9-B06B-E439-EDB95556C4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E6DE7A-F70E-4872-1B58-A89D68F890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171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20F499-DE10-69E8-7780-89C3708E66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0B6236-529A-02D7-AF9C-1915A5FA41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77A37E-D281-00E4-AD1A-B91F978F28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982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619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15.emf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18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9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0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microsoft.com/office/2007/relationships/hdphoto" Target="../media/hdphoto1.wdp"/><Relationship Id="rId5" Type="http://schemas.openxmlformats.org/officeDocument/2006/relationships/image" Target="../media/image22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alt 2" preserve="1">
  <p:cSld name="Purple 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781A59-D409-4780-928D-BAE35209F8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460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781A59-D409-4780-928D-BAE35209F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oogle Shape;7;g8d09728e15_0_479"/>
          <p:cNvPicPr preferRelativeResize="0"/>
          <p:nvPr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636" y="288321"/>
            <a:ext cx="2327563" cy="46632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;g8d09728e15_0_479"/>
          <p:cNvSpPr txBox="1">
            <a:spLocks noGrp="1"/>
          </p:cNvSpPr>
          <p:nvPr>
            <p:ph type="title"/>
          </p:nvPr>
        </p:nvSpPr>
        <p:spPr>
          <a:xfrm>
            <a:off x="330334" y="2855261"/>
            <a:ext cx="7759500" cy="56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3200" b="1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g8d09728e15_0_479"/>
          <p:cNvSpPr txBox="1">
            <a:spLocks noGrp="1"/>
          </p:cNvSpPr>
          <p:nvPr>
            <p:ph type="subTitle" idx="1"/>
          </p:nvPr>
        </p:nvSpPr>
        <p:spPr>
          <a:xfrm>
            <a:off x="333171" y="345025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g8d09728e15_0_479"/>
          <p:cNvSpPr/>
          <p:nvPr/>
        </p:nvSpPr>
        <p:spPr>
          <a:xfrm>
            <a:off x="335325" y="4696375"/>
            <a:ext cx="4446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FIDENTIAL AND PROPRIETAR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 dirty="0">
                <a:solidFill>
                  <a:srgbClr val="C0C0C0"/>
                </a:solidFill>
                <a:latin typeface="Calibri"/>
                <a:ea typeface="Calibri"/>
                <a:cs typeface="Calibri"/>
                <a:sym typeface="Calibri"/>
              </a:rPr>
              <a:t>© Encora 2025.  Any use of this material without specific permission is strictly prohibit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g8d09728e15_0_479"/>
          <p:cNvSpPr txBox="1">
            <a:spLocks noGrp="1"/>
          </p:cNvSpPr>
          <p:nvPr>
            <p:ph type="subTitle" idx="2"/>
          </p:nvPr>
        </p:nvSpPr>
        <p:spPr>
          <a:xfrm>
            <a:off x="5537775" y="4385675"/>
            <a:ext cx="3470100" cy="68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D9D9D9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8d09728e15_0_479"/>
          <p:cNvSpPr txBox="1">
            <a:spLocks noGrp="1"/>
          </p:cNvSpPr>
          <p:nvPr>
            <p:ph type="subTitle" idx="3"/>
          </p:nvPr>
        </p:nvSpPr>
        <p:spPr>
          <a:xfrm>
            <a:off x="333171" y="378440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9180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3">
          <p15:clr>
            <a:srgbClr val="FA7B17"/>
          </p15:clr>
        </p15:guide>
        <p15:guide id="2" orient="horz" pos="2520">
          <p15:clr>
            <a:srgbClr val="FA7B17"/>
          </p15:clr>
        </p15:guide>
        <p15:guide id="3" pos="262">
          <p15:clr>
            <a:srgbClr val="FA7B17"/>
          </p15:clr>
        </p15:guide>
        <p15:guide id="4" orient="horz" pos="2958">
          <p15:clr>
            <a:srgbClr val="FA7B17"/>
          </p15:clr>
        </p15:guide>
        <p15:guide id="5" orient="horz" pos="3191">
          <p15:clr>
            <a:srgbClr val="FA7B17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32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25">
            <a:extLst>
              <a:ext uri="{FF2B5EF4-FFF2-40B4-BE49-F238E27FC236}">
                <a16:creationId xmlns:a16="http://schemas.microsoft.com/office/drawing/2014/main" id="{E0A77C9C-662E-4DFA-9CE9-D2A8CE5CF0F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2519570"/>
          </a:xfrm>
          <a:prstGeom prst="rect">
            <a:avLst/>
          </a:prstGeom>
        </p:spPr>
      </p:pic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9;p28">
            <a:extLst>
              <a:ext uri="{FF2B5EF4-FFF2-40B4-BE49-F238E27FC236}">
                <a16:creationId xmlns:a16="http://schemas.microsoft.com/office/drawing/2014/main" id="{F6A8575F-8EC8-F1B0-75BE-185EBAD10DF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21949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8EE039D8-C5AD-89C1-F728-194388EF113D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7" name="Google Shape;24;p28">
            <a:extLst>
              <a:ext uri="{FF2B5EF4-FFF2-40B4-BE49-F238E27FC236}">
                <a16:creationId xmlns:a16="http://schemas.microsoft.com/office/drawing/2014/main" id="{A61A52E3-520F-19CB-D90E-FC709269B91B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200920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 (Left)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47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" descr="Image 1">
            <a:extLst>
              <a:ext uri="{FF2B5EF4-FFF2-40B4-BE49-F238E27FC236}">
                <a16:creationId xmlns:a16="http://schemas.microsoft.com/office/drawing/2014/main" id="{DE750228-9F62-3A8B-877A-959F3BE9DD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0"/>
            <a:ext cx="4854259" cy="5143500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29;p28">
            <a:extLst>
              <a:ext uri="{FF2B5EF4-FFF2-40B4-BE49-F238E27FC236}">
                <a16:creationId xmlns:a16="http://schemas.microsoft.com/office/drawing/2014/main" id="{C05EB109-A11E-FE2C-529A-B923CF3184B4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1234A672-BD9C-0BDA-6405-E972E7761BA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6E7994B4-AE64-881D-EABB-F8B2CCB6CE6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8C5676B5-2F65-7E37-B2AB-A5A2DADC9A6F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4825387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 (Right)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269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1" descr="Image 1">
            <a:extLst>
              <a:ext uri="{FF2B5EF4-FFF2-40B4-BE49-F238E27FC236}">
                <a16:creationId xmlns:a16="http://schemas.microsoft.com/office/drawing/2014/main" id="{4CB3F2F3-2E40-6A7E-15F6-650B627A748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83982" y="0"/>
            <a:ext cx="4960018" cy="5146381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" name="Google Shape;29;p28">
            <a:extLst>
              <a:ext uri="{FF2B5EF4-FFF2-40B4-BE49-F238E27FC236}">
                <a16:creationId xmlns:a16="http://schemas.microsoft.com/office/drawing/2014/main" id="{CEE79A5D-7A08-45D9-6DA2-D70F911EEE4C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F11EE9D8-FC76-84D6-D9C4-8A307BDEE7C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82CBF7F4-FBC8-0BDC-FB19-1509C3AC5FD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2E5BCAC7-AFAA-E5B9-468E-A7B2C154AF60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95350355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- Light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04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0" descr="Image 0">
            <a:extLst>
              <a:ext uri="{FF2B5EF4-FFF2-40B4-BE49-F238E27FC236}">
                <a16:creationId xmlns:a16="http://schemas.microsoft.com/office/drawing/2014/main" id="{A0DD152A-ED92-A5FA-29EB-4480F87E7CD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" y="0"/>
            <a:ext cx="9144000" cy="2285714"/>
          </a:xfrm>
          <a:prstGeom prst="rect">
            <a:avLst/>
          </a:prstGeom>
          <a:ln w="3175">
            <a:miter lim="400000"/>
          </a:ln>
        </p:spPr>
      </p:pic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3144F3CD-701B-FB6F-A0C5-A9BBF7686D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36565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229A4F0-3F6B-E088-4C30-C95AB1437F0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7" name="Google Shape;24;p28">
            <a:extLst>
              <a:ext uri="{FF2B5EF4-FFF2-40B4-BE49-F238E27FC236}">
                <a16:creationId xmlns:a16="http://schemas.microsoft.com/office/drawing/2014/main" id="{E7F75087-AC6A-DCFC-5D24-8E90658E7AB7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209082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1_Content - Whit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271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8FE566E-EBBA-775B-CB37-DE167895FDB5}"/>
              </a:ext>
            </a:extLst>
          </p:cNvPr>
          <p:cNvSpPr/>
          <p:nvPr userDrawn="1"/>
        </p:nvSpPr>
        <p:spPr>
          <a:xfrm>
            <a:off x="0" y="0"/>
            <a:ext cx="9144000" cy="4592225"/>
          </a:xfrm>
          <a:prstGeom prst="rect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latin typeface="IBM Plex Sans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5" name="Google Shape;37;g8d09728e15_0_47">
            <a:extLst>
              <a:ext uri="{FF2B5EF4-FFF2-40B4-BE49-F238E27FC236}">
                <a16:creationId xmlns:a16="http://schemas.microsoft.com/office/drawing/2014/main" id="{0A66FB5C-87FF-D0E1-7906-4B8249644632}"/>
              </a:ext>
            </a:extLst>
          </p:cNvPr>
          <p:cNvPicPr preferRelativeResize="0"/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93D308DB-B9C4-49DB-CC65-681F2CCD810B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7" name="Google Shape;25;p28">
            <a:extLst>
              <a:ext uri="{FF2B5EF4-FFF2-40B4-BE49-F238E27FC236}">
                <a16:creationId xmlns:a16="http://schemas.microsoft.com/office/drawing/2014/main" id="{CC71005C-8204-AD48-C485-F60EE3221D6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3" name="Google Shape;24;p28">
            <a:extLst>
              <a:ext uri="{FF2B5EF4-FFF2-40B4-BE49-F238E27FC236}">
                <a16:creationId xmlns:a16="http://schemas.microsoft.com/office/drawing/2014/main" id="{D907E528-E3E5-1B87-67BD-76C6F8551446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0676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631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8">
            <a:extLst>
              <a:ext uri="{FF2B5EF4-FFF2-40B4-BE49-F238E27FC236}">
                <a16:creationId xmlns:a16="http://schemas.microsoft.com/office/drawing/2014/main" id="{B2D25745-B546-4AAA-91A7-E7E9D74675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4" name="Google Shape;15;p29">
            <a:extLst>
              <a:ext uri="{FF2B5EF4-FFF2-40B4-BE49-F238E27FC236}">
                <a16:creationId xmlns:a16="http://schemas.microsoft.com/office/drawing/2014/main" id="{72D2AE0E-D9E1-6B1F-832E-DA9E3F9ED7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89E1D04-E28C-9BB3-64D7-7A8C075FEE7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27BF5520-21D7-010E-71C5-353FEBA5ED9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759091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Yellow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05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7">
            <a:extLst>
              <a:ext uri="{FF2B5EF4-FFF2-40B4-BE49-F238E27FC236}">
                <a16:creationId xmlns:a16="http://schemas.microsoft.com/office/drawing/2014/main" id="{7CB57D86-AF4D-4976-9A6C-8B702E5201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4" y="0"/>
            <a:ext cx="2218545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9D83BBC-F4AF-BD6F-11A3-FC56F84847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A0F418E9-C3D5-9E32-C8BF-999F99B646E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2F56FE11-AC29-78B9-1E63-C85FC11BD201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885420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Red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953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10">
            <a:extLst>
              <a:ext uri="{FF2B5EF4-FFF2-40B4-BE49-F238E27FC236}">
                <a16:creationId xmlns:a16="http://schemas.microsoft.com/office/drawing/2014/main" id="{DD20F912-0A2B-40A6-A7AF-0579D11EE4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2A252E31-765D-9065-99A7-E0AAE83D4A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36FA677-C60F-C25B-49FA-3A480E52520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1F7F4DB0-CDEC-6C35-111C-8CF82743E9A3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28187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en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3645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FA41ED2C-CEA8-4F1E-867D-2A71E8726D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EFEF6E83-C7FD-80A2-D538-395CDE1EA07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B726A6B-F9A2-07C5-17F9-51D65552FAD9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E9B2D76E-5C48-1EA7-706B-DA07B43E4890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936050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994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9">
            <a:extLst>
              <a:ext uri="{FF2B5EF4-FFF2-40B4-BE49-F238E27FC236}">
                <a16:creationId xmlns:a16="http://schemas.microsoft.com/office/drawing/2014/main" id="{1B3F76CB-0124-47EE-B951-5BE665CB8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BC82511-EEC6-8E8D-1C0D-A924FC68EB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EE1886B-9A12-3A78-3E94-3B742393143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D9AEDCAE-6935-E6A9-CF23-18E9BD6FB20A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608840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White (1-Line Header)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05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28"/>
          <p:cNvSpPr txBox="1"/>
          <p:nvPr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Insert declarative statement or imperative (one line)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0642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y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62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A7B259F-26CD-4ABD-BF24-0079E4EFB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3E85A0F-DCFE-2949-EA45-1F41F6CA9B1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9B8F005A-A9CD-D0A5-D4CB-C0E33E44002F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4688E7D1-8031-CB34-0E5B-F01BDB0AFA66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97440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Dark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897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4D2D916-4C0A-4C8A-9266-4177AA4575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68B934C1-D0BD-D3B7-17C4-B338E38F4C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CAAD7DE3-956C-98F8-B0BB-FF2FE66D9A4B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B1DA27BB-5EBA-71A9-943E-D89271EB797A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542450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9D6CAC-079A-4C0C-9E95-15C5DEE6E7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845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9D6CAC-079A-4C0C-9E95-15C5DEE6E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27;p12">
            <a:extLst>
              <a:ext uri="{FF2B5EF4-FFF2-40B4-BE49-F238E27FC236}">
                <a16:creationId xmlns:a16="http://schemas.microsoft.com/office/drawing/2014/main" id="{2416DEF2-76A2-4DC7-8535-A36DA50BC677}"/>
              </a:ext>
            </a:extLst>
          </p:cNvPr>
          <p:cNvPicPr preferRelativeResize="0"/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900"/>
          <a:stretch/>
        </p:blipFill>
        <p:spPr>
          <a:xfrm>
            <a:off x="8469310" y="4739843"/>
            <a:ext cx="259425" cy="23522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5;p28">
            <a:extLst>
              <a:ext uri="{FF2B5EF4-FFF2-40B4-BE49-F238E27FC236}">
                <a16:creationId xmlns:a16="http://schemas.microsoft.com/office/drawing/2014/main" id="{31E382B2-2C5C-1200-6CD3-E91C4B518A8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330342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White (2-Line Header)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21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68" imgH="670" progId="TCLayout.ActiveDocument.1">
                  <p:embed/>
                </p:oleObj>
              </mc:Choice>
              <mc:Fallback>
                <p:oleObj name="think-cell Slide" r:id="rId6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Use this slide template for headlines that require two lines of text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696805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AutoShape 8">
            <a:extLst>
              <a:ext uri="{FF2B5EF4-FFF2-40B4-BE49-F238E27FC236}">
                <a16:creationId xmlns:a16="http://schemas.microsoft.com/office/drawing/2014/main" id="{399051AD-1433-AF0F-2CF6-DDC801478B8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7568876" y="696805"/>
            <a:ext cx="1346522" cy="1538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r" eaLnBrk="1" hangingPunct="1"/>
            <a:r>
              <a:rPr lang="en-US" altLang="en-US" sz="1000" b="1" dirty="0">
                <a:solidFill>
                  <a:srgbClr val="C33131"/>
                </a:solidFill>
                <a:latin typeface="Arial" panose="020B0604020202020204" pitchFamily="34" charset="0"/>
              </a:rPr>
              <a:t>STICKER (OPTIONAL)</a:t>
            </a:r>
          </a:p>
        </p:txBody>
      </p:sp>
      <p:cxnSp>
        <p:nvCxnSpPr>
          <p:cNvPr id="4" name="AutoShape 9">
            <a:extLst>
              <a:ext uri="{FF2B5EF4-FFF2-40B4-BE49-F238E27FC236}">
                <a16:creationId xmlns:a16="http://schemas.microsoft.com/office/drawing/2014/main" id="{75E52EA5-8D6F-8176-F24A-97C159E09B1E}"/>
              </a:ext>
            </a:extLst>
          </p:cNvPr>
          <p:cNvCxnSpPr>
            <a:cxnSpLocks noChangeShapeType="1"/>
            <a:stCxn id="3" idx="2"/>
            <a:endCxn id="3" idx="0"/>
          </p:cNvCxnSpPr>
          <p:nvPr userDrawn="1">
            <p:custDataLst>
              <p:tags r:id="rId3"/>
            </p:custDataLst>
          </p:nvPr>
        </p:nvCxnSpPr>
        <p:spPr bwMode="auto">
          <a:xfrm>
            <a:off x="7568876" y="696805"/>
            <a:ext cx="1346522" cy="0"/>
          </a:xfrm>
          <a:prstGeom prst="straightConnector1">
            <a:avLst/>
          </a:prstGeom>
          <a:noFill/>
          <a:ln w="9525">
            <a:solidFill>
              <a:srgbClr val="C331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AutoShape 10">
            <a:extLst>
              <a:ext uri="{FF2B5EF4-FFF2-40B4-BE49-F238E27FC236}">
                <a16:creationId xmlns:a16="http://schemas.microsoft.com/office/drawing/2014/main" id="{03610109-09F1-67F8-FCB6-DF9B4F349832}"/>
              </a:ext>
            </a:extLst>
          </p:cNvPr>
          <p:cNvCxnSpPr>
            <a:cxnSpLocks noChangeShapeType="1"/>
            <a:stCxn id="3" idx="4"/>
            <a:endCxn id="3" idx="6"/>
          </p:cNvCxnSpPr>
          <p:nvPr userDrawn="1">
            <p:custDataLst>
              <p:tags r:id="rId4"/>
            </p:custDataLst>
          </p:nvPr>
        </p:nvCxnSpPr>
        <p:spPr bwMode="auto">
          <a:xfrm>
            <a:off x="7568876" y="850693"/>
            <a:ext cx="1346522" cy="0"/>
          </a:xfrm>
          <a:prstGeom prst="straightConnector1">
            <a:avLst/>
          </a:prstGeom>
          <a:noFill/>
          <a:ln w="9525">
            <a:solidFill>
              <a:srgbClr val="C331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E345FAD9-4D20-FCD3-5CD1-9C0C57E17B2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06328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fidential Content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44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onfidential info on this slide not to be distributed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02E45E1-B8EC-5742-BDC5-7EB75F365699}"/>
              </a:ext>
            </a:extLst>
          </p:cNvPr>
          <p:cNvSpPr/>
          <p:nvPr userDrawn="1"/>
        </p:nvSpPr>
        <p:spPr>
          <a:xfrm>
            <a:off x="0" y="0"/>
            <a:ext cx="9144000" cy="1412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800" i="1" dirty="0">
                <a:latin typeface="IBM Plex Sans" panose="020B0604020202020204" charset="0"/>
                <a:cs typeface="Calibri" panose="020F0502020204030204" pitchFamily="34" charset="0"/>
              </a:rPr>
              <a:t>CONFIDENTIAL – NOT FOR DISTRIBUTION || CONFIDENTIAL – NOT FOR DISTRIBUTION || CONFIDENTIAL – NOT FOR DISTRIBUTION || CONFIDENTIAL – NOT FOR DISTRIBU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15B7E9-6E3E-6307-AC4C-C846BF834F0B}"/>
              </a:ext>
            </a:extLst>
          </p:cNvPr>
          <p:cNvSpPr/>
          <p:nvPr userDrawn="1"/>
        </p:nvSpPr>
        <p:spPr>
          <a:xfrm>
            <a:off x="0" y="5002295"/>
            <a:ext cx="9144000" cy="1412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800" i="1" dirty="0">
                <a:latin typeface="IBM Plex Sans" panose="020B0604020202020204" charset="0"/>
                <a:cs typeface="Calibri" panose="020F0502020204030204" pitchFamily="34" charset="0"/>
              </a:rPr>
              <a:t>CONFIDENTIAL – NOT FOR DISTRIBUTION || CONFIDENTIAL – NOT FOR DISTRIBUTION || CONFIDENTIAL – NOT FOR DISTRIBUTION || CONFIDENTIAL – NOT FOR DISTRIBUTION</a:t>
            </a: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62616F3A-D2F2-F047-92F0-F82BEEA0C689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596210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hite - Purple Header" preserve="1" userDrawn="1">
  <p:cSld name="Content - Purple">
    <p:bg>
      <p:bgPr>
        <a:solidFill>
          <a:schemeClr val="lt1"/>
        </a:solidFill>
        <a:effectLst/>
      </p:bgPr>
    </p:bg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D2667-09CB-406A-8235-1109AC12A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717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1D2667-09CB-406A-8235-1109AC12A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oogle Shape;31;g8d09728e15_0_47"/>
          <p:cNvPicPr preferRelativeResize="0"/>
          <p:nvPr/>
        </p:nvPicPr>
        <p:blipFill rotWithShape="1">
          <a:blip r:embed="rId5" cstate="print"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"/>
          <a:stretch/>
        </p:blipFill>
        <p:spPr>
          <a:xfrm rot="10800000">
            <a:off x="0" y="-75"/>
            <a:ext cx="9144000" cy="819300"/>
          </a:xfrm>
          <a:prstGeom prst="round1Rect">
            <a:avLst>
              <a:gd name="adj" fmla="val 50000"/>
            </a:avLst>
          </a:prstGeom>
          <a:noFill/>
          <a:ln>
            <a:noFill/>
          </a:ln>
        </p:spPr>
      </p:pic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C3144D9-1C6C-0AB6-86DB-B1C6EACBA88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21226" y="279224"/>
            <a:ext cx="1394177" cy="282923"/>
          </a:xfrm>
          <a:prstGeom prst="rect">
            <a:avLst/>
          </a:prstGeom>
        </p:spPr>
      </p:pic>
      <p:sp>
        <p:nvSpPr>
          <p:cNvPr id="34" name="Google Shape;34;g8d09728e15_0_47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35" name="Google Shape;35;g8d09728e15_0_47"/>
          <p:cNvSpPr txBox="1">
            <a:spLocks noGrp="1"/>
          </p:cNvSpPr>
          <p:nvPr>
            <p:ph type="subTitle" idx="1"/>
          </p:nvPr>
        </p:nvSpPr>
        <p:spPr>
          <a:xfrm>
            <a:off x="261850" y="726685"/>
            <a:ext cx="86535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42160ABD-E79E-C315-BCEA-65A63118B135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A702F0AA-24C7-918D-BA3F-0D1CBA6EF22A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979F132A-53B8-190F-1235-E240361DEE5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644891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  <p15:guide id="11" orient="horz" pos="516">
          <p15:clr>
            <a:srgbClr val="FA7B17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Light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7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92CF6977-2D2F-0346-3EF0-249496E0E7E8}"/>
              </a:ext>
            </a:extLst>
          </p:cNvPr>
          <p:cNvGrpSpPr/>
          <p:nvPr userDrawn="1"/>
        </p:nvGrpSpPr>
        <p:grpSpPr>
          <a:xfrm>
            <a:off x="1" y="1"/>
            <a:ext cx="9144000" cy="1383332"/>
            <a:chOff x="0" y="0"/>
            <a:chExt cx="16258033" cy="2459565"/>
          </a:xfrm>
        </p:grpSpPr>
        <p:pic>
          <p:nvPicPr>
            <p:cNvPr id="6" name="Image 0" descr="Image 0">
              <a:extLst>
                <a:ext uri="{FF2B5EF4-FFF2-40B4-BE49-F238E27FC236}">
                  <a16:creationId xmlns:a16="http://schemas.microsoft.com/office/drawing/2014/main" id="{D55D02E1-3631-6548-8502-186DAFE6CE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0" y="0"/>
              <a:ext cx="16258033" cy="1612900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7" name="Image 1" descr="Image 1">
              <a:extLst>
                <a:ext uri="{FF2B5EF4-FFF2-40B4-BE49-F238E27FC236}">
                  <a16:creationId xmlns:a16="http://schemas.microsoft.com/office/drawing/2014/main" id="{29F6AD1F-275B-9DCA-364C-69C0126038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1612900"/>
              <a:ext cx="846771" cy="846665"/>
            </a:xfrm>
            <a:prstGeom prst="rect">
              <a:avLst/>
            </a:prstGeom>
            <a:ln w="3175">
              <a:miter lim="400000"/>
            </a:ln>
          </p:spPr>
        </p:pic>
      </p:grp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09214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09214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2" name="Google Shape;28;p28">
            <a:extLst>
              <a:ext uri="{FF2B5EF4-FFF2-40B4-BE49-F238E27FC236}">
                <a16:creationId xmlns:a16="http://schemas.microsoft.com/office/drawing/2014/main" id="{7F14B27B-D10A-A3FF-F632-4C69A3CA20D7}"/>
              </a:ext>
            </a:extLst>
          </p:cNvPr>
          <p:cNvPicPr preferRelativeResize="0"/>
          <p:nvPr userDrawn="1"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CA75AF49-A157-96DA-5B23-4843D59E121D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F6C5C37C-3F19-C9B0-25C3-56EA1D66B10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3" name="Google Shape;24;p28">
            <a:extLst>
              <a:ext uri="{FF2B5EF4-FFF2-40B4-BE49-F238E27FC236}">
                <a16:creationId xmlns:a16="http://schemas.microsoft.com/office/drawing/2014/main" id="{66071645-E650-F8E6-BAB8-2EB9F58FC299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306370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" preserve="1">
  <p:cSld name="Section Header - White"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2E41831-B9EF-64D6-EF04-7500888819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13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E41831-B9EF-64D6-EF04-750088881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15;p29"/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6" name="Google Shape;16;p29"/>
          <p:cNvPicPr preferRelativeResize="0"/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C181CE91-E840-F9BC-24C5-CAE00555323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C369715D-7826-2D89-AE91-105451DF403B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31956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 1" preserve="1" userDrawn="1">
  <p:cSld name="Section Header - Purple">
    <p:bg>
      <p:bgPr>
        <a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81FB059-FB79-68ED-C8B8-2E7CF0D92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62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1FB059-FB79-68ED-C8B8-2E7CF0D92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1D19F7C2-6FC3-41D9-94F7-4B2F862F2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</p:spPr>
        <p:txBody>
          <a:bodyPr anchor="ctr"/>
          <a:lstStyle>
            <a:lvl1pPr>
              <a:defRPr sz="2400" b="1">
                <a:solidFill>
                  <a:schemeClr val="bg1"/>
                </a:solidFill>
                <a:latin typeface="Montserrat SemiBold" panose="020B060402020202020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oogle Shape;40;g8e661b59ff_0_450" descr="Google Shape;40;g8e661b59ff_0_450">
            <a:extLst>
              <a:ext uri="{FF2B5EF4-FFF2-40B4-BE49-F238E27FC236}">
                <a16:creationId xmlns:a16="http://schemas.microsoft.com/office/drawing/2014/main" id="{57271E73-3CE4-4558-AC4D-060A83D202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1224" y="279212"/>
            <a:ext cx="1394174" cy="279652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0B9A210-EC9A-03E6-8D20-FF26D6503425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6ACA7229-B67F-D190-F55A-18F8D80CF25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200270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Exampl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514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E2C0CFDF-5E2A-4995-86D5-8DBC045407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4102792" cy="5143500"/>
          </a:xfrm>
          <a:prstGeom prst="rect">
            <a:avLst/>
          </a:prstGeom>
        </p:spPr>
      </p:pic>
      <p:sp>
        <p:nvSpPr>
          <p:cNvPr id="10" name="Google Shape;26;p28">
            <a:extLst>
              <a:ext uri="{FF2B5EF4-FFF2-40B4-BE49-F238E27FC236}">
                <a16:creationId xmlns:a16="http://schemas.microsoft.com/office/drawing/2014/main" id="{39D94F14-82B8-A843-93B8-ABEB2FB2E4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091572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35;g8d09728e15_0_47">
            <a:extLst>
              <a:ext uri="{FF2B5EF4-FFF2-40B4-BE49-F238E27FC236}">
                <a16:creationId xmlns:a16="http://schemas.microsoft.com/office/drawing/2014/main" id="{A1AA8081-B6C4-4EDA-9040-73957A69894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091572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9;p28">
            <a:extLst>
              <a:ext uri="{FF2B5EF4-FFF2-40B4-BE49-F238E27FC236}">
                <a16:creationId xmlns:a16="http://schemas.microsoft.com/office/drawing/2014/main" id="{BE192065-37D9-142B-8EE7-BC59A3A1AC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3213383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84EA04E3-CC8C-C0E0-4669-0AFB59E2DCE6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3827388" y="1451525"/>
            <a:ext cx="4960335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3B9530A4-919A-29C9-0B04-4EAB975799F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2405F8F4-5823-F56A-4B9B-3C0FEB5A6873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280905984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0F4CD3-4BCD-46EA-B65A-CE7EC84D9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705844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68" imgH="670" progId="TCLayout.ActiveDocument.1">
                  <p:embed/>
                </p:oleObj>
              </mc:Choice>
              <mc:Fallback>
                <p:oleObj name="think-cell Slide" r:id="rId26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0F4CD3-4BCD-46EA-B65A-CE7EC84D9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82" r:id="rId2"/>
    <p:sldLayoutId id="2147483659" r:id="rId3"/>
    <p:sldLayoutId id="2147483683" r:id="rId4"/>
    <p:sldLayoutId id="2147483660" r:id="rId5"/>
    <p:sldLayoutId id="2147483675" r:id="rId6"/>
    <p:sldLayoutId id="2147483673" r:id="rId7"/>
    <p:sldLayoutId id="2147483674" r:id="rId8"/>
    <p:sldLayoutId id="2147483661" r:id="rId9"/>
    <p:sldLayoutId id="2147483662" r:id="rId10"/>
    <p:sldLayoutId id="2147483676" r:id="rId11"/>
    <p:sldLayoutId id="2147483677" r:id="rId12"/>
    <p:sldLayoutId id="2147483678" r:id="rId13"/>
    <p:sldLayoutId id="2147483681" r:id="rId14"/>
    <p:sldLayoutId id="2147483666" r:id="rId15"/>
    <p:sldLayoutId id="2147483667" r:id="rId16"/>
    <p:sldLayoutId id="2147483669" r:id="rId17"/>
    <p:sldLayoutId id="2147483668" r:id="rId18"/>
    <p:sldLayoutId id="2147483670" r:id="rId19"/>
    <p:sldLayoutId id="2147483671" r:id="rId20"/>
    <p:sldLayoutId id="2147483672" r:id="rId21"/>
    <p:sldLayoutId id="2147483665" r:id="rId22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10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27.bin"/><Relationship Id="rId9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27.png"/><Relationship Id="rId5" Type="http://schemas.openxmlformats.org/officeDocument/2006/relationships/image" Target="../media/image10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2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1.xml"/><Relationship Id="rId6" Type="http://schemas.openxmlformats.org/officeDocument/2006/relationships/image" Target="../media/image3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microsoft.com/office/2007/relationships/hdphoto" Target="../media/hdphoto3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6" Type="http://schemas.openxmlformats.org/officeDocument/2006/relationships/image" Target="../media/image3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microsoft.com/office/2007/relationships/hdphoto" Target="../media/hdphoto4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3.xml"/><Relationship Id="rId6" Type="http://schemas.openxmlformats.org/officeDocument/2006/relationships/image" Target="../media/image3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96D2A0-6A5F-4FDD-9DA9-44DAB856B3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508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68" imgH="670" progId="TCLayout.ActiveDocument.1">
                  <p:embed/>
                </p:oleObj>
              </mc:Choice>
              <mc:Fallback>
                <p:oleObj name="think-cell Slide" r:id="rId5" imgW="668" imgH="6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96D2A0-6A5F-4FDD-9DA9-44DAB856B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7C7179F-9234-4709-9B4E-BBA3DC657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noProof="0" dirty="0">
              <a:latin typeface="Montserrat SemiBold" panose="020B0604020202020204" charset="0"/>
              <a:cs typeface="Calibri" panose="020F0502020204030204" pitchFamily="34" charset="0"/>
              <a:sym typeface="Montserrat SemiBold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72DFD0-EE17-47CC-B412-A1140BFA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to avoid turning your data lake into a data swamp</a:t>
            </a:r>
            <a:endParaRPr lang="en-US" noProof="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FB262C-26B3-43C9-942E-80D092E4F0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Leonardo Trevizo Herrera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D9B380A-F4B7-4C33-89E3-79B31EEEC7EA}"/>
              </a:ext>
            </a:extLst>
          </p:cNvPr>
          <p:cNvSpPr>
            <a:spLocks noGrp="1"/>
          </p:cNvSpPr>
          <p:nvPr>
            <p:ph type="subTitle" idx="3"/>
          </p:nvPr>
        </p:nvSpPr>
        <p:spPr/>
        <p:txBody>
          <a:bodyPr/>
          <a:lstStyle/>
          <a:p>
            <a:r>
              <a:rPr lang="en-US" noProof="0" dirty="0"/>
              <a:t>July </a:t>
            </a:r>
            <a:r>
              <a:rPr lang="en-US" dirty="0"/>
              <a:t>25</a:t>
            </a:r>
            <a:r>
              <a:rPr lang="en-US" baseline="30000" noProof="0" dirty="0" err="1"/>
              <a:t>th</a:t>
            </a:r>
            <a:r>
              <a:rPr lang="en-US" noProof="0" dirty="0"/>
              <a:t>, 2025.</a:t>
            </a:r>
          </a:p>
        </p:txBody>
      </p:sp>
    </p:spTree>
    <p:extLst>
      <p:ext uri="{BB962C8B-B14F-4D97-AF65-F5344CB8AC3E}">
        <p14:creationId xmlns:p14="http://schemas.microsoft.com/office/powerpoint/2010/main" val="18090738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A8C567-ACFF-4301-95D6-6BE1A5B864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28E3C-D1CF-C20C-054E-DF68740B8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 benefits for data engineers</a:t>
            </a:r>
            <a:endParaRPr lang="en-US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F9736F-B768-DE90-F3B9-365AA4010F0D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noProof="0" dirty="0"/>
              <a:t>Reliable tables for downstream consumers</a:t>
            </a:r>
          </a:p>
          <a:p>
            <a:pPr>
              <a:lnSpc>
                <a:spcPct val="200000"/>
              </a:lnSpc>
            </a:pPr>
            <a:r>
              <a:rPr lang="en-US" noProof="0" dirty="0"/>
              <a:t>No more costly “overwrite” jobs</a:t>
            </a:r>
          </a:p>
          <a:p>
            <a:pPr>
              <a:lnSpc>
                <a:spcPct val="200000"/>
              </a:lnSpc>
            </a:pPr>
            <a:r>
              <a:rPr lang="en-US" noProof="0" dirty="0"/>
              <a:t>Auditable, reproducible datasets</a:t>
            </a:r>
          </a:p>
          <a:p>
            <a:pPr>
              <a:lnSpc>
                <a:spcPct val="200000"/>
              </a:lnSpc>
            </a:pPr>
            <a:r>
              <a:rPr lang="en-US" noProof="0" dirty="0"/>
              <a:t>Easier collaboration across team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DCB9AB1-A5A9-FE80-6A27-2E67A9BDBA2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Why it matters? </a:t>
            </a:r>
            <a:r>
              <a:rPr lang="en-US" noProof="0"/>
              <a:t>What can It do for us?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80331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CE08C5-D6BC-397C-2FF4-66EF2D949D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24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CE08C5-D6BC-397C-2FF4-66EF2D949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Frame 39520.png" descr="Frame 39520.png">
            <a:extLst>
              <a:ext uri="{FF2B5EF4-FFF2-40B4-BE49-F238E27FC236}">
                <a16:creationId xmlns:a16="http://schemas.microsoft.com/office/drawing/2014/main" id="{D808C843-A93E-D424-48AA-CF98B62120CF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4289472" y="2182828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" name="Frame 39541.png" descr="Frame 39541.png">
            <a:extLst>
              <a:ext uri="{FF2B5EF4-FFF2-40B4-BE49-F238E27FC236}">
                <a16:creationId xmlns:a16="http://schemas.microsoft.com/office/drawing/2014/main" id="{1F328EA3-BBFE-34CF-6E05-4D2E65D86935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5725575" y="2176504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4" name="Frame 39574.png" descr="Frame 39574.png">
            <a:extLst>
              <a:ext uri="{FF2B5EF4-FFF2-40B4-BE49-F238E27FC236}">
                <a16:creationId xmlns:a16="http://schemas.microsoft.com/office/drawing/2014/main" id="{2BC2BE99-CAB1-AC8B-C4D6-70892490E842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4188955" y="308146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3" name="Frame 39539.png" descr="Frame 39539.png">
            <a:extLst>
              <a:ext uri="{FF2B5EF4-FFF2-40B4-BE49-F238E27FC236}">
                <a16:creationId xmlns:a16="http://schemas.microsoft.com/office/drawing/2014/main" id="{AE06A257-14F9-1552-6FF0-9759E899882D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2853369" y="218283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4" name="Frame 39546.png" descr="Frame 39546.png">
            <a:extLst>
              <a:ext uri="{FF2B5EF4-FFF2-40B4-BE49-F238E27FC236}">
                <a16:creationId xmlns:a16="http://schemas.microsoft.com/office/drawing/2014/main" id="{53C4FDBD-7207-F39B-F7F8-E35F6EEC639E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4768173" y="21765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7" name="Frame 39569.png" descr="Frame 39569.png">
            <a:extLst>
              <a:ext uri="{FF2B5EF4-FFF2-40B4-BE49-F238E27FC236}">
                <a16:creationId xmlns:a16="http://schemas.microsoft.com/office/drawing/2014/main" id="{66F6391D-2ED5-9E41-C252-5FE746FF6A7A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2374668" y="21887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8" name="Frame 39576.png" descr="Frame 39576.png">
            <a:extLst>
              <a:ext uri="{FF2B5EF4-FFF2-40B4-BE49-F238E27FC236}">
                <a16:creationId xmlns:a16="http://schemas.microsoft.com/office/drawing/2014/main" id="{1CD428FC-078C-692A-0DA9-4C60FC42C359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3332070" y="218283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9" name="Frame 39609.png" descr="Frame 39609.png">
            <a:extLst>
              <a:ext uri="{FF2B5EF4-FFF2-40B4-BE49-F238E27FC236}">
                <a16:creationId xmlns:a16="http://schemas.microsoft.com/office/drawing/2014/main" id="{49CC21D6-7B8E-0EC6-C852-A4D85AE3398E}"/>
              </a:ext>
            </a:extLst>
          </p:cNvPr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3810771" y="2182829"/>
            <a:ext cx="383045" cy="383045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853519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1539A39-9577-2F3C-DDB3-17764D3F9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ightning Talk #2</a:t>
            </a:r>
            <a:br>
              <a:rPr lang="en-US" noProof="0" dirty="0"/>
            </a:br>
            <a:r>
              <a:rPr lang="en-US" dirty="0"/>
              <a:t>Delta Lake </a:t>
            </a:r>
            <a:r>
              <a:rPr lang="en-US" noProof="0" dirty="0"/>
              <a:t>→ Databricks</a:t>
            </a:r>
          </a:p>
        </p:txBody>
      </p:sp>
    </p:spTree>
    <p:extLst>
      <p:ext uri="{BB962C8B-B14F-4D97-AF65-F5344CB8AC3E}">
        <p14:creationId xmlns:p14="http://schemas.microsoft.com/office/powerpoint/2010/main" val="3426862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C4A096-5963-691E-C104-F4C143DA9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331" y="226260"/>
            <a:ext cx="5626325" cy="1200778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en-US" dirty="0">
                <a:solidFill>
                  <a:srgbClr val="F0EEFF"/>
                </a:solidFill>
              </a:rPr>
              <a:t>Agenda</a:t>
            </a:r>
            <a:endParaRPr lang="en-US" sz="4800" dirty="0">
              <a:solidFill>
                <a:srgbClr val="F0EEFF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63FE4F-166A-3740-50EF-3AC6BF55C958}"/>
              </a:ext>
            </a:extLst>
          </p:cNvPr>
          <p:cNvSpPr txBox="1"/>
          <p:nvPr/>
        </p:nvSpPr>
        <p:spPr>
          <a:xfrm>
            <a:off x="442762" y="1688123"/>
            <a:ext cx="5940894" cy="2268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The challenges of traditional data lakes  ………………………. 4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What is Delta Lake?  ……………………………………………………. 5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How Delta Lake improves architecture  ………………………… 6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Key features: Merge, time travel, schema enforcement  … 7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Working together with Unity Catalog  ………………………….. 10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0EEFF"/>
                </a:solidFill>
                <a:latin typeface="IBM Plex Sans" panose="020B0503050203000203" pitchFamily="34" charset="0"/>
              </a:rPr>
              <a:t>Wrap-up and takeaways……………………………………………… 11</a:t>
            </a:r>
          </a:p>
        </p:txBody>
      </p:sp>
    </p:spTree>
    <p:extLst>
      <p:ext uri="{BB962C8B-B14F-4D97-AF65-F5344CB8AC3E}">
        <p14:creationId xmlns:p14="http://schemas.microsoft.com/office/powerpoint/2010/main" val="13523896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C61B8-C96A-2360-6AA3-38449F8FF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e reality of raw data lak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4678C4-EDA3-7BCF-DDD4-0F2038395B5C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US" noProof="0" dirty="0"/>
              <a:t>No transactions or consistency guarantees</a:t>
            </a:r>
          </a:p>
          <a:p>
            <a:pPr>
              <a:lnSpc>
                <a:spcPct val="200000"/>
              </a:lnSpc>
            </a:pPr>
            <a:r>
              <a:rPr lang="en-US" dirty="0"/>
              <a:t>Difficult to update or delete data safely</a:t>
            </a:r>
          </a:p>
          <a:p>
            <a:pPr>
              <a:lnSpc>
                <a:spcPct val="200000"/>
              </a:lnSpc>
            </a:pPr>
            <a:r>
              <a:rPr lang="en-US" noProof="0" dirty="0"/>
              <a:t>Schema evolution is manual and error-prone</a:t>
            </a:r>
          </a:p>
          <a:p>
            <a:pPr>
              <a:lnSpc>
                <a:spcPct val="200000"/>
              </a:lnSpc>
            </a:pPr>
            <a:r>
              <a:rPr lang="en-US" dirty="0"/>
              <a:t>No easy way to track versions or recover from mistakes</a:t>
            </a:r>
            <a:endParaRPr lang="en-US" noProof="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C62F9380-8B5B-8B9B-06BD-77B10C337F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What problems data lakes have?</a:t>
            </a:r>
          </a:p>
        </p:txBody>
      </p:sp>
    </p:spTree>
    <p:extLst>
      <p:ext uri="{BB962C8B-B14F-4D97-AF65-F5344CB8AC3E}">
        <p14:creationId xmlns:p14="http://schemas.microsoft.com/office/powerpoint/2010/main" val="2360522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A5EB66-037B-9D78-54DC-FB3FF66834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94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A5EB66-037B-9D78-54DC-FB3FF6683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896D03-5F31-B04A-48BC-2317BD5A1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elta Lake</a:t>
            </a:r>
            <a:endParaRPr lang="en-US" noProof="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788D32-2EB3-BE5D-447F-5B383312D5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hat can I achieve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AB4CBA-3FEF-CBA6-116F-BD7EAB398CA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noProof="0" dirty="0"/>
              <a:t>A storage layer that adds transactions, versioning, schema enforcement, and performance optimizations to your existing data lake.</a:t>
            </a:r>
          </a:p>
          <a:p>
            <a:endParaRPr lang="en-US" dirty="0"/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4B80C3-F116-2E6B-7E72-2BE885F878A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dirty="0"/>
              <a:t>	Transactio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noProof="0" dirty="0"/>
              <a:t>	Versioning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noProof="0" dirty="0"/>
              <a:t>	Schema Enforcemen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noProof="0" dirty="0"/>
              <a:t>	Performance Optimization</a:t>
            </a:r>
          </a:p>
        </p:txBody>
      </p:sp>
      <p:pic>
        <p:nvPicPr>
          <p:cNvPr id="7" name="Frame 39650.png">
            <a:extLst>
              <a:ext uri="{FF2B5EF4-FFF2-40B4-BE49-F238E27FC236}">
                <a16:creationId xmlns:a16="http://schemas.microsoft.com/office/drawing/2014/main" id="{C590C0A8-070E-3ABC-02C9-94B0A893F98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441897" y="14921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" name="Frame 39517.png" descr="Frame 39517.png">
            <a:extLst>
              <a:ext uri="{FF2B5EF4-FFF2-40B4-BE49-F238E27FC236}">
                <a16:creationId xmlns:a16="http://schemas.microsoft.com/office/drawing/2014/main" id="{4B0DB8BE-E6D6-D502-2BE6-B812DF6739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1897" y="21448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" name="Frame 39597.png" descr="Frame 39597.png">
            <a:extLst>
              <a:ext uri="{FF2B5EF4-FFF2-40B4-BE49-F238E27FC236}">
                <a16:creationId xmlns:a16="http://schemas.microsoft.com/office/drawing/2014/main" id="{7220EC46-1210-763C-5AB7-B9B7F8717E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41897" y="276088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" name="Frame 39545.png">
            <a:extLst>
              <a:ext uri="{FF2B5EF4-FFF2-40B4-BE49-F238E27FC236}">
                <a16:creationId xmlns:a16="http://schemas.microsoft.com/office/drawing/2014/main" id="{663F770D-11CE-3FEF-03E1-43DC4351008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4441897" y="337695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9BDC225-5C23-9380-792D-D5AB97622BB3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tx2">
                <a:lumMod val="90000"/>
                <a:tint val="45000"/>
                <a:satMod val="400000"/>
              </a:schemeClr>
            </a:duotone>
          </a:blip>
          <a:srcRect l="51893" t="10352"/>
          <a:stretch>
            <a:fillRect/>
          </a:stretch>
        </p:blipFill>
        <p:spPr>
          <a:xfrm>
            <a:off x="681742" y="2952402"/>
            <a:ext cx="2651220" cy="1742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02897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F17EC37-9942-7F58-C7D6-06586F042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elta Lake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D31833DB-CF58-8E28-52E9-BF12790C8F3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here does Delta Lake sit?</a:t>
            </a:r>
          </a:p>
        </p:txBody>
      </p:sp>
      <p:sp>
        <p:nvSpPr>
          <p:cNvPr id="12" name="AutoShape 4">
            <a:extLst>
              <a:ext uri="{FF2B5EF4-FFF2-40B4-BE49-F238E27FC236}">
                <a16:creationId xmlns:a16="http://schemas.microsoft.com/office/drawing/2014/main" id="{77797A10-E83B-9B18-E4CD-7FFA080D2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1331593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Warehouse</a:t>
            </a:r>
          </a:p>
        </p:txBody>
      </p:sp>
      <p:sp>
        <p:nvSpPr>
          <p:cNvPr id="13" name="AutoShape 4">
            <a:extLst>
              <a:ext uri="{FF2B5EF4-FFF2-40B4-BE49-F238E27FC236}">
                <a16:creationId xmlns:a16="http://schemas.microsoft.com/office/drawing/2014/main" id="{040AD682-8CEB-7BA3-0A09-46D3CCD7E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2235319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Lake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5BF2F35E-E524-0C17-754B-F4879BCB40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3139045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lta Lake</a:t>
            </a:r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BD10C8BD-819C-BA35-C1C5-D7AE891621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4044109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Lakehouse</a:t>
            </a:r>
          </a:p>
        </p:txBody>
      </p:sp>
      <p:graphicFrame>
        <p:nvGraphicFramePr>
          <p:cNvPr id="16" name="Group 46">
            <a:extLst>
              <a:ext uri="{FF2B5EF4-FFF2-40B4-BE49-F238E27FC236}">
                <a16:creationId xmlns:a16="http://schemas.microsoft.com/office/drawing/2014/main" id="{0E29907B-C36D-FC44-ACBE-E0C461BA6A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13714"/>
              </p:ext>
            </p:extLst>
          </p:nvPr>
        </p:nvGraphicFramePr>
        <p:xfrm>
          <a:off x="2212956" y="1001592"/>
          <a:ext cx="6511201" cy="4175140"/>
        </p:xfrm>
        <a:graphic>
          <a:graphicData uri="http://schemas.openxmlformats.org/drawingml/2006/table">
            <a:tbl>
              <a:tblPr/>
              <a:tblGrid>
                <a:gridCol w="25213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34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550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Main Idea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haracteristics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Examp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Structured storage for analysis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High performance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Strong ACID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Expensive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Schema-on-write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71450" marR="0" lvl="1" indent="-1714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Snowflake</a:t>
                      </a:r>
                    </a:p>
                    <a:p>
                      <a:pPr marL="171450" marR="0" lvl="1" indent="-1714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mazon Redshif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Raw data storage at scale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imited transactions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acks governance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ow cos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Schema-on-read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mazon S3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zure Data Lake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Storage layer on top of Data Lake. Enhances cloud storage with reliable reads &amp; writes.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Versioning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Schema enforcemen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ACID transactions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Databricks Delta Lake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Reinforce Data Lake architecture with Data Warehouse characteristics via Delta Lakes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Strong ACID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Versioning control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ss expensive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Raw data storage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kumimoji="0" lang="en-US" altLang="en-US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03130"/>
                        </a:solidFill>
                        <a:effectLst/>
                        <a:uLnTx/>
                        <a:uFillTx/>
                        <a:latin typeface="IBM Plex Sans" panose="020B0503050203000203" pitchFamily="34" charset="0"/>
                        <a:ea typeface="+mn-ea"/>
                        <a:cs typeface="Calibri" panose="020F0502020204030204" pitchFamily="34" charset="0"/>
                        <a:sym typeface="Arial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Databricks Lakehouse Platform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7182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5307FC8-7EB7-68DA-273E-95BDA90745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64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07FC8-7EB7-68DA-273E-95BDA90745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46E629-E743-BA0F-5E14-2B7887801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How a data engineer uses Delta Lake featur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CD44CFF-377F-BDD8-86C3-D54CAE1AA3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r>
              <a:rPr lang="en-US" noProof="0" dirty="0"/>
              <a:t>First, we add some new information</a:t>
            </a:r>
          </a:p>
        </p:txBody>
      </p:sp>
      <p:pic>
        <p:nvPicPr>
          <p:cNvPr id="9" name="Image 2">
            <a:extLst>
              <a:ext uri="{FF2B5EF4-FFF2-40B4-BE49-F238E27FC236}">
                <a16:creationId xmlns:a16="http://schemas.microsoft.com/office/drawing/2014/main" id="{100A1D89-B204-FEA0-7956-EA8A525948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589347" y="1058520"/>
            <a:ext cx="7965306" cy="3316150"/>
          </a:xfrm>
          <a:prstGeom prst="rect">
            <a:avLst/>
          </a:prstGeom>
          <a:solidFill>
            <a:srgbClr val="252525"/>
          </a:solidFill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7445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D7544D-7AA1-E1F2-629D-A134C3C5B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A172C32-D883-0AE1-A90B-DE34E18B5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172C32-D883-0AE1-A90B-DE34E18B5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929B2A-632A-12FE-4FD5-383958CE2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a data engineer uses Delta Lake features</a:t>
            </a:r>
            <a:endParaRPr lang="en-US" noProof="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6CF1979-500E-3B68-B51B-4F2FB18744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r>
              <a:rPr lang="en-US" noProof="0" dirty="0"/>
              <a:t>Then we have the describe commands</a:t>
            </a:r>
          </a:p>
        </p:txBody>
      </p:sp>
      <p:pic>
        <p:nvPicPr>
          <p:cNvPr id="9" name="Image 2">
            <a:extLst>
              <a:ext uri="{FF2B5EF4-FFF2-40B4-BE49-F238E27FC236}">
                <a16:creationId xmlns:a16="http://schemas.microsoft.com/office/drawing/2014/main" id="{1C59B9E0-9E90-360F-FD2C-1E3A70BB31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843419" y="1220839"/>
            <a:ext cx="7457161" cy="3161788"/>
          </a:xfrm>
          <a:prstGeom prst="rect">
            <a:avLst/>
          </a:prstGeom>
          <a:solidFill>
            <a:srgbClr val="252525"/>
          </a:solidFill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9441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548ECA-CF4E-1A64-2702-17B821A4F4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7CF0BE8-58F4-FA0D-89CD-E10C247FF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CF0BE8-58F4-FA0D-89CD-E10C247FF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26DEDD-7189-9934-0AD5-EC3AC478D1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a data engineer uses Delta Lake features</a:t>
            </a:r>
            <a:endParaRPr lang="en-US" noProof="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B5439E1-F026-67AF-0B8A-C017713C4B9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r>
              <a:rPr lang="en-US" dirty="0"/>
              <a:t>Then we have the versioning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7332F-745A-9151-F198-1C42BA02E6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860961" y="903579"/>
            <a:ext cx="5422078" cy="3607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21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-%y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FY%y&lt;/m_strFormatTime&gt;&lt;m_yearfmt&gt;&lt;begin val=&quot;4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3.95867255582448107631E+00&quot;&gt;&lt;m_msothmcolidx val=&quot;0&quot;/&gt;&lt;m_rgb r=&quot;00&quot; g=&quot;B0&quot; b=&quot;F0&quot;/&gt;&lt;/elem&gt;&lt;elem m_fUsage=&quot;2.05658999999999991815E+00&quot;&gt;&lt;m_msothmcolidx val=&quot;0&quot;/&gt;&lt;m_rgb r=&quot;C7&quot; g=&quot;E2&quot; b=&quot;A0&quot;/&gt;&lt;/elem&gt;&lt;elem m_fUsage=&quot;9.61908210000000152284E-01&quot;&gt;&lt;m_msothmcolidx val=&quot;0&quot;/&gt;&lt;m_rgb r=&quot;08&quot; g=&quot;59&quot; b=&quot;A4&quot;/&gt;&lt;/elem&gt;&lt;elem m_fUsage=&quot;4.78296900000000135833E-01&quot;&gt;&lt;m_msothmcolidx val=&quot;0&quot;/&gt;&lt;m_rgb r=&quot;E4&quot; g=&quot;44&quot; b=&quot;24&quot;/&gt;&lt;/elem&gt;&lt;elem m_fUsage=&quot;3.87420489000000145552E-01&quot;&gt;&lt;m_msothmcolidx val=&quot;0&quot;/&gt;&lt;m_rgb r=&quot;E3&quot; g=&quot;66&quot; b=&quot;4D&quot;/&gt;&lt;/elem&gt;&lt;elem m_fUsage=&quot;3.48678440100000153201E-01&quot;&gt;&lt;m_msothmcolidx val=&quot;0&quot;/&gt;&lt;m_rgb r=&quot;4D&quot; g=&quot;82&quot; b=&quot;A7&quot;/&gt;&lt;/elem&gt;&lt;elem m_fUsage=&quot;3.13810596090000171188E-01&quot;&gt;&lt;m_msothmcolidx val=&quot;0&quot;/&gt;&lt;m_rgb r=&quot;B5&quot; g=&quot;54&quot; b=&quot;81&quot;/&gt;&lt;/elem&gt;&lt;elem m_fUsage=&quot;2.82429536481000165171E-01&quot;&gt;&lt;m_msothmcolidx val=&quot;0&quot;/&gt;&lt;m_rgb r=&quot;01&quot; g=&quot;A6&quot; b=&quot;C8&quot;/&gt;&lt;/elem&gt;&lt;elem m_fUsage=&quot;2.54186582832900132001E-01&quot;&gt;&lt;m_msothmcolidx val=&quot;0&quot;/&gt;&lt;m_rgb r=&quot;01&quot; g=&quot;A4&quot; b=&quot;C6&quot;/&gt;&lt;/elem&gt;&lt;elem m_fUsage=&quot;2.28767924549610118801E-01&quot;&gt;&lt;m_msothmcolidx val=&quot;0&quot;/&gt;&lt;m_rgb r=&quot;F5&quot; g=&quot;73&quot; b=&quot;34&quot;/&gt;&lt;/elem&gt;&lt;elem m_fUsage=&quot;2.05891132094649098594E-01&quot;&gt;&lt;m_msothmcolidx val=&quot;0&quot;/&gt;&lt;m_rgb r=&quot;BE&quot; g=&quot;D7&quot; b=&quot;33&quot;/&gt;&lt;/elem&gt;&lt;elem m_fUsage=&quot;1.21389960133063315451E-01&quot;&gt;&lt;m_msothmcolidx val=&quot;0&quot;/&gt;&lt;m_rgb r=&quot;C0&quot; g=&quot;00&quot; b=&quot;00&quot;/&gt;&lt;/elem&gt;&lt;elem m_fUsage=&quot;9.22133888396934608966E-02&quot;&gt;&lt;m_msothmcolidx val=&quot;0&quot;/&gt;&lt;m_rgb r=&quot;FF&quot; g=&quot;CC&quot; b=&quot;CC&quot;/&gt;&lt;/elem&gt;&lt;elem m_fUsage=&quot;5.57349833523367588217E-02&quot;&gt;&lt;m_msothmcolidx val=&quot;0&quot;/&gt;&lt;m_rgb r=&quot;CC&quot; g=&quot;FF&quot; b=&quot;99&quot;/&gt;&lt;/elem&gt;&lt;elem m_fUsage=&quot;4.53071146403777116896E-02&quot;&gt;&lt;m_msothmcolidx val=&quot;0&quot;/&gt;&lt;m_rgb r=&quot;00&quot; g=&quot;80&quot; b=&quot;00&quot;/&gt;&lt;/elem&gt;&lt;elem m_fUsage=&quot;4.23911582752162438559E-02&quot;&gt;&lt;m_msothmcolidx val=&quot;0&quot;/&gt;&lt;m_rgb r=&quot;30&quot; g=&quot;30&quot; b=&quot;30&quot;/&gt;&lt;/elem&gt;&lt;elem m_fUsage=&quot;2.83957184508226989639E-02&quot;&gt;&lt;m_msothmcolidx val=&quot;0&quot;/&gt;&lt;m_rgb r=&quot;FD&quot; g=&quot;F0&quot; b=&quot;99&quot;/&gt;&lt;/elem&gt;&lt;elem m_fUsage=&quot;2.78128389443693807559E-02&quot;&gt;&lt;m_msothmcolidx val=&quot;0&quot;/&gt;&lt;m_rgb r=&quot;8A&quot; g=&quot;D9&quot; b=&quot;03&quot;/&gt;&lt;/elem&gt;&lt;elem m_fUsage=&quot;1.82480036314007498799E-02&quot;&gt;&lt;m_msothmcolidx val=&quot;0&quot;/&gt;&lt;m_rgb r=&quot;33&quot; g=&quot;CC&quot; b=&quot;33&quot;/&gt;&lt;/elem&gt;&lt;elem m_fUsage=&quot;1.33027946472911474951E-02&quot;&gt;&lt;m_msothmcolidx val=&quot;0&quot;/&gt;&lt;m_rgb r=&quot;A7&quot; g=&quot;E3&quot; b=&quot;F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kkFKHiGHeCf_8UyjUR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ST7C22EE2cwyMN_4RO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58l42vD0qG8Jp_LKhp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6oHG6ex0CeAiDwUhz_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Page">
  <a:themeElements>
    <a:clrScheme name="Custom 1">
      <a:dk1>
        <a:srgbClr val="303130"/>
      </a:dk1>
      <a:lt1>
        <a:srgbClr val="FFFFFF"/>
      </a:lt1>
      <a:dk2>
        <a:srgbClr val="44197E"/>
      </a:dk2>
      <a:lt2>
        <a:srgbClr val="F3F3F3"/>
      </a:lt2>
      <a:accent1>
        <a:srgbClr val="7F7F7F"/>
      </a:accent1>
      <a:accent2>
        <a:srgbClr val="0070C0"/>
      </a:accent2>
      <a:accent3>
        <a:srgbClr val="90C642"/>
      </a:accent3>
      <a:accent4>
        <a:srgbClr val="40C3F0"/>
      </a:accent4>
      <a:accent5>
        <a:srgbClr val="F6BC15"/>
      </a:accent5>
      <a:accent6>
        <a:srgbClr val="F15C54"/>
      </a:accent6>
      <a:hlink>
        <a:srgbClr val="F2F2F2"/>
      </a:hlink>
      <a:folHlink>
        <a:srgbClr val="0020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latin typeface="IBM Plex Sans" panose="020B060402020202020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3927f13-0167-4747-93d1-4cfa56c63106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AA1872CEEF6B479457931568B20E2B" ma:contentTypeVersion="8" ma:contentTypeDescription="Create a new document." ma:contentTypeScope="" ma:versionID="15c695566b82b0969f1faf28baf8ffa0">
  <xsd:schema xmlns:xsd="http://www.w3.org/2001/XMLSchema" xmlns:xs="http://www.w3.org/2001/XMLSchema" xmlns:p="http://schemas.microsoft.com/office/2006/metadata/properties" xmlns:ns2="940fc0ab-afcb-42a4-b589-d4c6c75ddf2d" xmlns:ns3="33927f13-0167-4747-93d1-4cfa56c63106" targetNamespace="http://schemas.microsoft.com/office/2006/metadata/properties" ma:root="true" ma:fieldsID="013ed709ffa9751d530688b460144000" ns2:_="" ns3:_="">
    <xsd:import namespace="940fc0ab-afcb-42a4-b589-d4c6c75ddf2d"/>
    <xsd:import namespace="33927f13-0167-4747-93d1-4cfa56c6310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0fc0ab-afcb-42a4-b589-d4c6c75ddf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927f13-0167-4747-93d1-4cfa56c6310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D51DF20-F5FC-46D5-974D-45D4B0D634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FAFD70-A271-4D83-BAD4-59DAA425E7FB}">
  <ds:schemaRefs>
    <ds:schemaRef ds:uri="http://schemas.microsoft.com/office/2006/metadata/properties"/>
    <ds:schemaRef ds:uri="http://schemas.microsoft.com/office/infopath/2007/PartnerControls"/>
    <ds:schemaRef ds:uri="33927f13-0167-4747-93d1-4cfa56c63106"/>
  </ds:schemaRefs>
</ds:datastoreItem>
</file>

<file path=customXml/itemProps3.xml><?xml version="1.0" encoding="utf-8"?>
<ds:datastoreItem xmlns:ds="http://schemas.openxmlformats.org/officeDocument/2006/customXml" ds:itemID="{4C89D8F4-16DE-40E1-89C0-E0C6CBD550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0fc0ab-afcb-42a4-b589-d4c6c75ddf2d"/>
    <ds:schemaRef ds:uri="33927f13-0167-4747-93d1-4cfa56c631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915</TotalTime>
  <Words>333</Words>
  <Application>Microsoft Office PowerPoint</Application>
  <PresentationFormat>On-screen Show (16:9)</PresentationFormat>
  <Paragraphs>73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Impact</vt:lpstr>
      <vt:lpstr>IBM Plex Sans</vt:lpstr>
      <vt:lpstr>Arial</vt:lpstr>
      <vt:lpstr>Calibri</vt:lpstr>
      <vt:lpstr>Courier New</vt:lpstr>
      <vt:lpstr>Montserrat SemiBold</vt:lpstr>
      <vt:lpstr>Montserrat</vt:lpstr>
      <vt:lpstr>Wingdings</vt:lpstr>
      <vt:lpstr>Cover Page</vt:lpstr>
      <vt:lpstr>think-cell Slide</vt:lpstr>
      <vt:lpstr>How to avoid turning your data lake into a data swamp</vt:lpstr>
      <vt:lpstr>Lightning Talk #2 Delta Lake → Databricks</vt:lpstr>
      <vt:lpstr>Agenda</vt:lpstr>
      <vt:lpstr>The reality of raw data lakes</vt:lpstr>
      <vt:lpstr>What is Delta Lake</vt:lpstr>
      <vt:lpstr>What is Delta Lake</vt:lpstr>
      <vt:lpstr>How a data engineer uses Delta Lake features</vt:lpstr>
      <vt:lpstr>How a data engineer uses Delta Lake features</vt:lpstr>
      <vt:lpstr>How a data engineer uses Delta Lake features</vt:lpstr>
      <vt:lpstr>Real benefits for data engineer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oshua Kanter</dc:creator>
  <cp:lastModifiedBy>Leonardo Trevizo H</cp:lastModifiedBy>
  <cp:revision>67</cp:revision>
  <dcterms:modified xsi:type="dcterms:W3CDTF">2025-07-24T15:5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AA1872CEEF6B479457931568B20E2B</vt:lpwstr>
  </property>
  <property fmtid="{D5CDD505-2E9C-101B-9397-08002B2CF9AE}" pid="3" name="Order">
    <vt:r8>162600</vt:r8>
  </property>
  <property fmtid="{D5CDD505-2E9C-101B-9397-08002B2CF9AE}" pid="4" name="TriggerFlowInfo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xd_Signature">
    <vt:bool>false</vt:bool>
  </property>
  <property fmtid="{D5CDD505-2E9C-101B-9397-08002B2CF9AE}" pid="10" name="xd_ProgID">
    <vt:lpwstr/>
  </property>
  <property fmtid="{D5CDD505-2E9C-101B-9397-08002B2CF9AE}" pid="11" name="TemplateUrl">
    <vt:lpwstr/>
  </property>
</Properties>
</file>